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2.xml" ContentType="application/vnd.openxmlformats-officedocument.them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notesSlides/notesSlide1.xml" ContentType="application/vnd.openxmlformats-officedocument.presentationml.notesSlide+xml"/>
  <Override PartName="/ppt/tags/tag280.xml" ContentType="application/vnd.openxmlformats-officedocument.presentationml.tags+xml"/>
  <Override PartName="/ppt/notesSlides/notesSlide2.xml" ContentType="application/vnd.openxmlformats-officedocument.presentationml.notesSlide+xml"/>
  <Override PartName="/ppt/media/image36.bin" ContentType="image/unknown"/>
  <Override PartName="/ppt/tags/tag281.xml" ContentType="application/vnd.openxmlformats-officedocument.presentationml.tags+xml"/>
  <Override PartName="/ppt/notesSlides/notesSlide3.xml" ContentType="application/vnd.openxmlformats-officedocument.presentationml.notesSlide+xml"/>
  <Override PartName="/ppt/tags/tag282.xml" ContentType="application/vnd.openxmlformats-officedocument.presentationml.tags+xml"/>
  <Override PartName="/ppt/notesSlides/notesSlide4.xml" ContentType="application/vnd.openxmlformats-officedocument.presentationml.notesSlide+xml"/>
  <Override PartName="/ppt/tags/tag283.xml" ContentType="application/vnd.openxmlformats-officedocument.presentationml.tags+xml"/>
  <Override PartName="/ppt/notesSlides/notesSlide5.xml" ContentType="application/vnd.openxmlformats-officedocument.presentationml.notesSlide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notesSlides/notesSlide6.xml" ContentType="application/vnd.openxmlformats-officedocument.presentationml.notesSlide+xml"/>
  <Override PartName="/ppt/tags/tag305.xml" ContentType="application/vnd.openxmlformats-officedocument.presentationml.tags+xml"/>
  <Override PartName="/ppt/notesSlides/notesSlide7.xml" ContentType="application/vnd.openxmlformats-officedocument.presentationml.notesSlide+xml"/>
  <Override PartName="/ppt/tags/tag306.xml" ContentType="application/vnd.openxmlformats-officedocument.presentationml.tags+xml"/>
  <Override PartName="/ppt/notesSlides/notesSlide8.xml" ContentType="application/vnd.openxmlformats-officedocument.presentationml.notesSlide+xml"/>
  <Override PartName="/ppt/tags/tag307.xml" ContentType="application/vnd.openxmlformats-officedocument.presentationml.tags+xml"/>
  <Override PartName="/ppt/notesSlides/notesSlide9.xml" ContentType="application/vnd.openxmlformats-officedocument.presentationml.notesSlide+xml"/>
  <Override PartName="/ppt/tags/tag308.xml" ContentType="application/vnd.openxmlformats-officedocument.presentationml.tags+xml"/>
  <Override PartName="/ppt/notesSlides/notesSlide10.xml" ContentType="application/vnd.openxmlformats-officedocument.presentationml.notesSlide+xml"/>
  <Override PartName="/ppt/tags/tag309.xml" ContentType="application/vnd.openxmlformats-officedocument.presentationml.tags+xml"/>
  <Override PartName="/ppt/notesSlides/notesSlide11.xml" ContentType="application/vnd.openxmlformats-officedocument.presentationml.notesSlide+xml"/>
  <Override PartName="/ppt/tags/tag310.xml" ContentType="application/vnd.openxmlformats-officedocument.presentationml.tags+xml"/>
  <Override PartName="/ppt/notesSlides/notesSlide12.xml" ContentType="application/vnd.openxmlformats-officedocument.presentationml.notesSlide+xml"/>
  <Override PartName="/ppt/tags/tag311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69" r:id="rId4"/>
    <p:sldMasterId id="2147484000" r:id="rId5"/>
  </p:sldMasterIdLst>
  <p:notesMasterIdLst>
    <p:notesMasterId r:id="rId23"/>
  </p:notesMasterIdLst>
  <p:handoutMasterIdLst>
    <p:handoutMasterId r:id="rId24"/>
  </p:handoutMasterIdLst>
  <p:sldIdLst>
    <p:sldId id="266" r:id="rId6"/>
    <p:sldId id="2134805335" r:id="rId7"/>
    <p:sldId id="2134805338" r:id="rId8"/>
    <p:sldId id="2134805312" r:id="rId9"/>
    <p:sldId id="2134805330" r:id="rId10"/>
    <p:sldId id="2134805340" r:id="rId11"/>
    <p:sldId id="2134805342" r:id="rId12"/>
    <p:sldId id="2134805341" r:id="rId13"/>
    <p:sldId id="2134805348" r:id="rId14"/>
    <p:sldId id="2134805344" r:id="rId15"/>
    <p:sldId id="2134805345" r:id="rId16"/>
    <p:sldId id="2134805346" r:id="rId17"/>
    <p:sldId id="2134805349" r:id="rId18"/>
    <p:sldId id="2134805350" r:id="rId19"/>
    <p:sldId id="2134805351" r:id="rId20"/>
    <p:sldId id="2134805352" r:id="rId21"/>
    <p:sldId id="2134805339" r:id="rId22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63" userDrawn="1">
          <p15:clr>
            <a:srgbClr val="A4A3A4"/>
          </p15:clr>
        </p15:guide>
        <p15:guide id="2" orient="horz" pos="754" userDrawn="1">
          <p15:clr>
            <a:srgbClr val="A4A3A4"/>
          </p15:clr>
        </p15:guide>
        <p15:guide id="3" pos="4929" userDrawn="1">
          <p15:clr>
            <a:srgbClr val="A4A3A4"/>
          </p15:clr>
        </p15:guide>
        <p15:guide id="4" orient="horz" pos="417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r. Helmut Stöberl" initials="HS" lastIdx="2" clrIdx="0">
    <p:extLst>
      <p:ext uri="{19B8F6BF-5375-455C-9EA6-DF929625EA0E}">
        <p15:presenceInfo xmlns:p15="http://schemas.microsoft.com/office/powerpoint/2012/main" userId="Dr. Helmut Stöber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9A48"/>
    <a:srgbClr val="FF00FF"/>
    <a:srgbClr val="FF66FF"/>
    <a:srgbClr val="FD9002"/>
    <a:srgbClr val="FA4481"/>
    <a:srgbClr val="1DE9FF"/>
    <a:srgbClr val="66FFFF"/>
    <a:srgbClr val="FF9900"/>
    <a:srgbClr val="99FF66"/>
    <a:srgbClr val="139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Designformatvorlage 2 - Akz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Designformatvorlage 2 - Akz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Designformatvorlage 2 - Akz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Designformatvorlage 2 - Akz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71" autoAdjust="0"/>
    <p:restoredTop sz="91433" autoAdjust="0"/>
  </p:normalViewPr>
  <p:slideViewPr>
    <p:cSldViewPr snapToGrid="0" snapToObjects="1" showGuides="1">
      <p:cViewPr varScale="1">
        <p:scale>
          <a:sx n="114" d="100"/>
          <a:sy n="114" d="100"/>
        </p:scale>
        <p:origin x="474" y="102"/>
      </p:cViewPr>
      <p:guideLst>
        <p:guide pos="3863"/>
        <p:guide orient="horz" pos="754"/>
        <p:guide pos="4929"/>
        <p:guide orient="horz" pos="417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0" d="100"/>
        <a:sy n="70" d="100"/>
      </p:scale>
      <p:origin x="0" y="-26856"/>
    </p:cViewPr>
  </p:sorterViewPr>
  <p:notesViewPr>
    <p:cSldViewPr snapToGrid="0" snapToObjects="1" showGuides="1">
      <p:cViewPr varScale="1">
        <p:scale>
          <a:sx n="81" d="100"/>
          <a:sy n="81" d="100"/>
        </p:scale>
        <p:origin x="2966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CF277B-2B2D-4A52-B764-A8BFFF7C72B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32E7C71-92C2-4C65-AAC5-13B8C473ACE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E2FDDD-A1D4-4177-8444-E5221BE49A25}" type="datetimeFigureOut">
              <a:rPr lang="en-GB" smtClean="0"/>
              <a:t>19/01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1B936A-9456-497F-896D-EB0A744901C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EB13B5-DFF6-40A2-9CA0-1CF501D0D03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772725-DA1C-4D30-B10A-574656A6150F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57653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B80376-9849-0641-980F-B64B5DF60C01}" type="datetimeFigureOut">
              <a:rPr lang="de-DE" smtClean="0"/>
              <a:t>19.01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9F2F47-17B9-B440-9B67-93B9C4BEB082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962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3365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73571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31245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97973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740175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07771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69779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6372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58911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51331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90700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18252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44707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7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7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71.xml"/><Relationship Id="rId7" Type="http://schemas.openxmlformats.org/officeDocument/2006/relationships/image" Target="../media/image8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74.xml"/><Relationship Id="rId7" Type="http://schemas.openxmlformats.org/officeDocument/2006/relationships/image" Target="../media/image8.png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1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77.xml"/><Relationship Id="rId7" Type="http://schemas.openxmlformats.org/officeDocument/2006/relationships/image" Target="../media/image8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3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02.xml"/><Relationship Id="rId7" Type="http://schemas.openxmlformats.org/officeDocument/2006/relationships/image" Target="../media/image3.emf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oleObject" Target="../embeddings/oleObject4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3.xml"/><Relationship Id="rId9" Type="http://schemas.openxmlformats.org/officeDocument/2006/relationships/oleObject" Target="../embeddings/oleObject2.bin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06.xml"/><Relationship Id="rId7" Type="http://schemas.openxmlformats.org/officeDocument/2006/relationships/image" Target="../media/image3.emf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oleObject" Target="../embeddings/oleObject4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7.xml"/><Relationship Id="rId9" Type="http://schemas.openxmlformats.org/officeDocument/2006/relationships/oleObject" Target="../embeddings/oleObject3.bin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10.xml"/><Relationship Id="rId7" Type="http://schemas.openxmlformats.org/officeDocument/2006/relationships/image" Target="../media/image3.emf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oleObject" Target="../embeddings/oleObject49.bin"/><Relationship Id="rId5" Type="http://schemas.openxmlformats.org/officeDocument/2006/relationships/slideMaster" Target="../slideMasters/slideMaster2.xml"/><Relationship Id="rId10" Type="http://schemas.openxmlformats.org/officeDocument/2006/relationships/oleObject" Target="../embeddings/oleObject4.bin"/><Relationship Id="rId4" Type="http://schemas.openxmlformats.org/officeDocument/2006/relationships/tags" Target="../tags/tag111.xml"/><Relationship Id="rId9" Type="http://schemas.openxmlformats.org/officeDocument/2006/relationships/image" Target="../media/image4.emf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14.xml"/><Relationship Id="rId7" Type="http://schemas.openxmlformats.org/officeDocument/2006/relationships/image" Target="../media/image3.emf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oleObject" Target="../embeddings/oleObject5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18.xml"/><Relationship Id="rId7" Type="http://schemas.openxmlformats.org/officeDocument/2006/relationships/image" Target="../media/image3.emf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oleObject" Target="../embeddings/oleObject5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9.xml"/><Relationship Id="rId9" Type="http://schemas.openxmlformats.org/officeDocument/2006/relationships/oleObject" Target="../embeddings/oleObject6.bin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2.xml"/><Relationship Id="rId7" Type="http://schemas.openxmlformats.org/officeDocument/2006/relationships/oleObject" Target="../embeddings/oleObject52.bin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2.xml"/><Relationship Id="rId10" Type="http://schemas.openxmlformats.org/officeDocument/2006/relationships/oleObject" Target="../embeddings/oleObject7.bin"/><Relationship Id="rId4" Type="http://schemas.openxmlformats.org/officeDocument/2006/relationships/tags" Target="../tags/tag123.xml"/><Relationship Id="rId9" Type="http://schemas.openxmlformats.org/officeDocument/2006/relationships/image" Target="../media/image4.emf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26.xml"/><Relationship Id="rId7" Type="http://schemas.openxmlformats.org/officeDocument/2006/relationships/image" Target="../media/image3.emf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oleObject" Target="../embeddings/oleObject5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7.xml"/><Relationship Id="rId9" Type="http://schemas.openxmlformats.org/officeDocument/2006/relationships/oleObject" Target="../embeddings/oleObject8.bin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30.xml"/><Relationship Id="rId7" Type="http://schemas.openxmlformats.org/officeDocument/2006/relationships/image" Target="../media/image3.emf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oleObject" Target="../embeddings/oleObject5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1.xml"/><Relationship Id="rId9" Type="http://schemas.openxmlformats.org/officeDocument/2006/relationships/oleObject" Target="../embeddings/oleObject9.bin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34.xml"/><Relationship Id="rId7" Type="http://schemas.openxmlformats.org/officeDocument/2006/relationships/image" Target="../media/image3.emf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oleObject" Target="../embeddings/oleObject5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5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38.xml"/><Relationship Id="rId7" Type="http://schemas.openxmlformats.org/officeDocument/2006/relationships/image" Target="../media/image3.emf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oleObject" Target="../embeddings/oleObject5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9.xml"/><Relationship Id="rId9" Type="http://schemas.openxmlformats.org/officeDocument/2006/relationships/oleObject" Target="../embeddings/oleObject11.bin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42.xml"/><Relationship Id="rId7" Type="http://schemas.openxmlformats.org/officeDocument/2006/relationships/image" Target="../media/image3.emf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oleObject" Target="../embeddings/oleObject5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3.xml"/><Relationship Id="rId9" Type="http://schemas.openxmlformats.org/officeDocument/2006/relationships/oleObject" Target="../embeddings/oleObject12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7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7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50.xml"/><Relationship Id="rId7" Type="http://schemas.openxmlformats.org/officeDocument/2006/relationships/image" Target="../media/image3.emf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oleObject" Target="../embeddings/oleObject6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6.png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154.xml"/><Relationship Id="rId7" Type="http://schemas.openxmlformats.org/officeDocument/2006/relationships/image" Target="../media/image3.emf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oleObject" Target="../embeddings/oleObject6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5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158.xml"/><Relationship Id="rId7" Type="http://schemas.openxmlformats.org/officeDocument/2006/relationships/image" Target="../media/image3.emf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oleObject" Target="../embeddings/oleObject6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9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162.xml"/><Relationship Id="rId7" Type="http://schemas.openxmlformats.org/officeDocument/2006/relationships/image" Target="../media/image3.emf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oleObject" Target="../embeddings/oleObject6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63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166.xml"/><Relationship Id="rId7" Type="http://schemas.openxmlformats.org/officeDocument/2006/relationships/image" Target="../media/image3.emf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oleObject" Target="../embeddings/oleObject6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67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70.xml"/><Relationship Id="rId7" Type="http://schemas.openxmlformats.org/officeDocument/2006/relationships/image" Target="../media/image3.emf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oleObject" Target="../embeddings/oleObject6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1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174.xml"/><Relationship Id="rId7" Type="http://schemas.openxmlformats.org/officeDocument/2006/relationships/image" Target="../media/image3.emf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oleObject" Target="../embeddings/oleObject6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5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178.xml"/><Relationship Id="rId7" Type="http://schemas.openxmlformats.org/officeDocument/2006/relationships/image" Target="../media/image3.emf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oleObject" Target="../embeddings/oleObject6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9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182.xml"/><Relationship Id="rId7" Type="http://schemas.openxmlformats.org/officeDocument/2006/relationships/image" Target="../media/image3.emf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oleObject" Target="../embeddings/oleObject6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186.xml"/><Relationship Id="rId7" Type="http://schemas.openxmlformats.org/officeDocument/2006/relationships/image" Target="../media/image3.emf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oleObject" Target="../embeddings/oleObject6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190.xml"/><Relationship Id="rId7" Type="http://schemas.openxmlformats.org/officeDocument/2006/relationships/image" Target="../media/image3.emf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oleObject" Target="../embeddings/oleObject7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9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194.xml"/><Relationship Id="rId7" Type="http://schemas.openxmlformats.org/officeDocument/2006/relationships/image" Target="../media/image3.emf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oleObject" Target="../embeddings/oleObject7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95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tags" Target="../tags/tag198.xml"/><Relationship Id="rId7" Type="http://schemas.openxmlformats.org/officeDocument/2006/relationships/image" Target="../media/image3.emf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oleObject" Target="../embeddings/oleObject7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99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tags" Target="../tags/tag202.xml"/><Relationship Id="rId7" Type="http://schemas.openxmlformats.org/officeDocument/2006/relationships/image" Target="../media/image3.emf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oleObject" Target="../embeddings/oleObject7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3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3" Type="http://schemas.openxmlformats.org/officeDocument/2006/relationships/tags" Target="../tags/tag206.xml"/><Relationship Id="rId7" Type="http://schemas.openxmlformats.org/officeDocument/2006/relationships/image" Target="../media/image3.emf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oleObject" Target="../embeddings/oleObject7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7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210.xml"/><Relationship Id="rId7" Type="http://schemas.openxmlformats.org/officeDocument/2006/relationships/image" Target="../media/image3.emf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oleObject" Target="../embeddings/oleObject7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11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14.xml"/><Relationship Id="rId7" Type="http://schemas.openxmlformats.org/officeDocument/2006/relationships/image" Target="../media/image3.emf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oleObject" Target="../embeddings/oleObject76.bin"/><Relationship Id="rId5" Type="http://schemas.openxmlformats.org/officeDocument/2006/relationships/slideMaster" Target="../slideMasters/slideMaster2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215.xml"/><Relationship Id="rId9" Type="http://schemas.openxmlformats.org/officeDocument/2006/relationships/image" Target="../media/image9.png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18.xml"/><Relationship Id="rId7" Type="http://schemas.openxmlformats.org/officeDocument/2006/relationships/image" Target="../media/image3.emf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oleObject" Target="../embeddings/oleObject77.bin"/><Relationship Id="rId11" Type="http://schemas.openxmlformats.org/officeDocument/2006/relationships/oleObject" Target="../embeddings/oleObject32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9.png"/><Relationship Id="rId4" Type="http://schemas.openxmlformats.org/officeDocument/2006/relationships/tags" Target="../tags/tag219.xml"/><Relationship Id="rId9" Type="http://schemas.openxmlformats.org/officeDocument/2006/relationships/image" Target="../media/image10.png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22.xml"/><Relationship Id="rId7" Type="http://schemas.openxmlformats.org/officeDocument/2006/relationships/image" Target="../media/image3.emf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oleObject" Target="../embeddings/oleObject78.bin"/><Relationship Id="rId11" Type="http://schemas.openxmlformats.org/officeDocument/2006/relationships/oleObject" Target="../embeddings/oleObject33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11.png"/><Relationship Id="rId4" Type="http://schemas.openxmlformats.org/officeDocument/2006/relationships/tags" Target="../tags/tag223.xml"/><Relationship Id="rId9" Type="http://schemas.openxmlformats.org/officeDocument/2006/relationships/image" Target="../media/image9.png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26.xml"/><Relationship Id="rId7" Type="http://schemas.openxmlformats.org/officeDocument/2006/relationships/image" Target="../media/image3.emf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oleObject" Target="../embeddings/oleObject79.bin"/><Relationship Id="rId11" Type="http://schemas.openxmlformats.org/officeDocument/2006/relationships/oleObject" Target="../embeddings/oleObject34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12.png"/><Relationship Id="rId4" Type="http://schemas.openxmlformats.org/officeDocument/2006/relationships/tags" Target="../tags/tag227.xml"/><Relationship Id="rId9" Type="http://schemas.openxmlformats.org/officeDocument/2006/relationships/image" Target="../media/image9.png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0.bin"/><Relationship Id="rId3" Type="http://schemas.openxmlformats.org/officeDocument/2006/relationships/tags" Target="../tags/tag230.xml"/><Relationship Id="rId7" Type="http://schemas.openxmlformats.org/officeDocument/2006/relationships/slideMaster" Target="../slideMasters/slideMaster2.xml"/><Relationship Id="rId12" Type="http://schemas.openxmlformats.org/officeDocument/2006/relationships/oleObject" Target="../embeddings/oleObject35.bin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tags" Target="../tags/tag233.xml"/><Relationship Id="rId11" Type="http://schemas.openxmlformats.org/officeDocument/2006/relationships/image" Target="../media/image9.png"/><Relationship Id="rId5" Type="http://schemas.openxmlformats.org/officeDocument/2006/relationships/tags" Target="../tags/tag232.xml"/><Relationship Id="rId10" Type="http://schemas.openxmlformats.org/officeDocument/2006/relationships/image" Target="../media/image8.png"/><Relationship Id="rId4" Type="http://schemas.openxmlformats.org/officeDocument/2006/relationships/tags" Target="../tags/tag231.xml"/><Relationship Id="rId9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1.bin"/><Relationship Id="rId13" Type="http://schemas.openxmlformats.org/officeDocument/2006/relationships/oleObject" Target="../embeddings/oleObject36.bin"/><Relationship Id="rId3" Type="http://schemas.openxmlformats.org/officeDocument/2006/relationships/tags" Target="../tags/tag236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11.png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6" Type="http://schemas.openxmlformats.org/officeDocument/2006/relationships/tags" Target="../tags/tag239.xml"/><Relationship Id="rId11" Type="http://schemas.openxmlformats.org/officeDocument/2006/relationships/image" Target="../media/image9.png"/><Relationship Id="rId5" Type="http://schemas.openxmlformats.org/officeDocument/2006/relationships/tags" Target="../tags/tag238.xml"/><Relationship Id="rId10" Type="http://schemas.openxmlformats.org/officeDocument/2006/relationships/image" Target="../media/image8.png"/><Relationship Id="rId4" Type="http://schemas.openxmlformats.org/officeDocument/2006/relationships/tags" Target="../tags/tag237.xml"/><Relationship Id="rId9" Type="http://schemas.openxmlformats.org/officeDocument/2006/relationships/image" Target="../media/image3.emf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2.bin"/><Relationship Id="rId13" Type="http://schemas.openxmlformats.org/officeDocument/2006/relationships/oleObject" Target="../embeddings/oleObject37.bin"/><Relationship Id="rId3" Type="http://schemas.openxmlformats.org/officeDocument/2006/relationships/tags" Target="../tags/tag242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12.png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6" Type="http://schemas.openxmlformats.org/officeDocument/2006/relationships/tags" Target="../tags/tag245.xml"/><Relationship Id="rId11" Type="http://schemas.openxmlformats.org/officeDocument/2006/relationships/image" Target="../media/image9.png"/><Relationship Id="rId5" Type="http://schemas.openxmlformats.org/officeDocument/2006/relationships/tags" Target="../tags/tag244.xml"/><Relationship Id="rId10" Type="http://schemas.openxmlformats.org/officeDocument/2006/relationships/image" Target="../media/image8.png"/><Relationship Id="rId4" Type="http://schemas.openxmlformats.org/officeDocument/2006/relationships/tags" Target="../tags/tag243.xml"/><Relationship Id="rId9" Type="http://schemas.openxmlformats.org/officeDocument/2006/relationships/image" Target="../media/image3.emf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8.bin"/><Relationship Id="rId3" Type="http://schemas.openxmlformats.org/officeDocument/2006/relationships/tags" Target="../tags/tag248.xml"/><Relationship Id="rId7" Type="http://schemas.openxmlformats.org/officeDocument/2006/relationships/image" Target="../media/image3.emf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oleObject" Target="../embeddings/oleObject8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49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9.bin"/><Relationship Id="rId3" Type="http://schemas.openxmlformats.org/officeDocument/2006/relationships/tags" Target="../tags/tag252.xml"/><Relationship Id="rId7" Type="http://schemas.openxmlformats.org/officeDocument/2006/relationships/image" Target="../media/image3.emf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6" Type="http://schemas.openxmlformats.org/officeDocument/2006/relationships/oleObject" Target="../embeddings/oleObject8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3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56.xml"/><Relationship Id="rId7" Type="http://schemas.openxmlformats.org/officeDocument/2006/relationships/image" Target="../media/image3.emf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oleObject" Target="../embeddings/oleObject8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7.xml"/><Relationship Id="rId9" Type="http://schemas.openxmlformats.org/officeDocument/2006/relationships/oleObject" Target="../embeddings/oleObject40.bin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60.xml"/><Relationship Id="rId7" Type="http://schemas.openxmlformats.org/officeDocument/2006/relationships/image" Target="../media/image3.emf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oleObject" Target="../embeddings/oleObject8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1.xml"/><Relationship Id="rId9" Type="http://schemas.openxmlformats.org/officeDocument/2006/relationships/oleObject" Target="../embeddings/oleObject41.bin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64.xml"/><Relationship Id="rId7" Type="http://schemas.openxmlformats.org/officeDocument/2006/relationships/image" Target="../media/image3.emf"/><Relationship Id="rId2" Type="http://schemas.openxmlformats.org/officeDocument/2006/relationships/tags" Target="../tags/tag263.xml"/><Relationship Id="rId1" Type="http://schemas.openxmlformats.org/officeDocument/2006/relationships/tags" Target="../tags/tag262.xml"/><Relationship Id="rId6" Type="http://schemas.openxmlformats.org/officeDocument/2006/relationships/oleObject" Target="../embeddings/oleObject8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5.xml"/><Relationship Id="rId9" Type="http://schemas.openxmlformats.org/officeDocument/2006/relationships/oleObject" Target="../embeddings/oleObject42.bin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3.bin"/><Relationship Id="rId3" Type="http://schemas.openxmlformats.org/officeDocument/2006/relationships/tags" Target="../tags/tag268.xml"/><Relationship Id="rId7" Type="http://schemas.openxmlformats.org/officeDocument/2006/relationships/image" Target="../media/image3.emf"/><Relationship Id="rId2" Type="http://schemas.openxmlformats.org/officeDocument/2006/relationships/tags" Target="../tags/tag267.xml"/><Relationship Id="rId1" Type="http://schemas.openxmlformats.org/officeDocument/2006/relationships/tags" Target="../tags/tag266.xml"/><Relationship Id="rId6" Type="http://schemas.openxmlformats.org/officeDocument/2006/relationships/oleObject" Target="../embeddings/oleObject8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9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272.xml"/><Relationship Id="rId7" Type="http://schemas.openxmlformats.org/officeDocument/2006/relationships/image" Target="../media/image3.emf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6" Type="http://schemas.openxmlformats.org/officeDocument/2006/relationships/oleObject" Target="../embeddings/oleObject89.bin"/><Relationship Id="rId5" Type="http://schemas.openxmlformats.org/officeDocument/2006/relationships/slideMaster" Target="../slideMasters/slideMaster2.xml"/><Relationship Id="rId10" Type="http://schemas.openxmlformats.org/officeDocument/2006/relationships/oleObject" Target="../embeddings/oleObject44.bin"/><Relationship Id="rId4" Type="http://schemas.openxmlformats.org/officeDocument/2006/relationships/tags" Target="../tags/tag273.xml"/><Relationship Id="rId9" Type="http://schemas.openxmlformats.org/officeDocument/2006/relationships/image" Target="../media/image4.emf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76.xml"/><Relationship Id="rId7" Type="http://schemas.openxmlformats.org/officeDocument/2006/relationships/image" Target="../media/image3.emf"/><Relationship Id="rId2" Type="http://schemas.openxmlformats.org/officeDocument/2006/relationships/tags" Target="../tags/tag275.xml"/><Relationship Id="rId1" Type="http://schemas.openxmlformats.org/officeDocument/2006/relationships/tags" Target="../tags/tag274.xml"/><Relationship Id="rId6" Type="http://schemas.openxmlformats.org/officeDocument/2006/relationships/oleObject" Target="../embeddings/oleObject9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77.xml"/><Relationship Id="rId9" Type="http://schemas.openxmlformats.org/officeDocument/2006/relationships/oleObject" Target="../embeddings/oleObject4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CHWARZ links // Bildplatzhal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7548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A7EB04B2-B630-41B2-AFB3-553D6397A80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22241" y="0"/>
            <a:ext cx="6969759" cy="6858000"/>
          </a:xfrm>
          <a:custGeom>
            <a:avLst/>
            <a:gdLst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706883 w 6969759"/>
              <a:gd name="connsiteY4" fmla="*/ 1 h 6858000"/>
              <a:gd name="connsiteX5" fmla="*/ 833898 w 6969759"/>
              <a:gd name="connsiteY5" fmla="*/ 1 h 6858000"/>
              <a:gd name="connsiteX6" fmla="*/ 833897 w 6969759"/>
              <a:gd name="connsiteY6" fmla="*/ 4 h 6858000"/>
              <a:gd name="connsiteX7" fmla="*/ 0 w 6969759"/>
              <a:gd name="connsiteY7" fmla="*/ 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69759" h="6858000">
                <a:moveTo>
                  <a:pt x="0" y="0"/>
                </a:moveTo>
                <a:lnTo>
                  <a:pt x="6969759" y="0"/>
                </a:lnTo>
                <a:lnTo>
                  <a:pt x="6969759" y="6858000"/>
                </a:lnTo>
                <a:lnTo>
                  <a:pt x="508945" y="6858000"/>
                </a:lnTo>
                <a:lnTo>
                  <a:pt x="3706883" y="1"/>
                </a:lnTo>
                <a:lnTo>
                  <a:pt x="833898" y="1"/>
                </a:lnTo>
                <a:lnTo>
                  <a:pt x="833897" y="4"/>
                </a:ln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7" name="Freeform 20">
            <a:extLst>
              <a:ext uri="{FF2B5EF4-FFF2-40B4-BE49-F238E27FC236}">
                <a16:creationId xmlns:a16="http://schemas.microsoft.com/office/drawing/2014/main" id="{20143032-539B-475F-916F-D6751F8BCF55}"/>
              </a:ext>
            </a:extLst>
          </p:cNvPr>
          <p:cNvSpPr/>
          <p:nvPr userDrawn="1"/>
        </p:nvSpPr>
        <p:spPr>
          <a:xfrm>
            <a:off x="23446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F7F2D2A-67E7-48AB-9757-E47BE416C04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73" y="5869536"/>
            <a:ext cx="3175725" cy="531882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6050183" cy="984885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2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652838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4889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F26B43"/>
          </p15:clr>
        </p15:guide>
        <p15:guide id="2" pos="483" userDrawn="1">
          <p15:clr>
            <a:srgbClr val="A4A3A4"/>
          </p15:clr>
        </p15:guide>
        <p15:guide id="3" orient="horz" pos="754" userDrawn="1">
          <p15:clr>
            <a:srgbClr val="A4A3A4"/>
          </p15:clr>
        </p15:guide>
        <p15:guide id="4" orient="horz" pos="640" userDrawn="1">
          <p15:clr>
            <a:srgbClr val="A4A3A4"/>
          </p15:clr>
        </p15:guide>
        <p15:guide id="5" orient="horz" pos="21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//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1044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82F7FFF-4C5B-4019-9384-D49F46D526EB}"/>
              </a:ext>
            </a:extLst>
          </p:cNvPr>
          <p:cNvGrpSpPr/>
          <p:nvPr/>
        </p:nvGrpSpPr>
        <p:grpSpPr>
          <a:xfrm>
            <a:off x="218788" y="4130611"/>
            <a:ext cx="11754424" cy="2396064"/>
            <a:chOff x="705451" y="5067472"/>
            <a:chExt cx="11671993" cy="237926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586F8AD-DF01-425F-82E1-C7B3B54D2332}"/>
                </a:ext>
              </a:extLst>
            </p:cNvPr>
            <p:cNvGrpSpPr/>
            <p:nvPr/>
          </p:nvGrpSpPr>
          <p:grpSpPr>
            <a:xfrm>
              <a:off x="705451" y="5067472"/>
              <a:ext cx="11671993" cy="2379260"/>
              <a:chOff x="833963" y="4724559"/>
              <a:chExt cx="13798285" cy="2812691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D9BEDEC5-A311-4772-8ED2-5EF31FB83501}"/>
                  </a:ext>
                </a:extLst>
              </p:cNvPr>
              <p:cNvSpPr/>
              <p:nvPr/>
            </p:nvSpPr>
            <p:spPr>
              <a:xfrm>
                <a:off x="833963" y="4724559"/>
                <a:ext cx="13276469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FE7D64E6-1F9F-4943-B9B8-CBECB838132F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</p:grpSp>
        <p:sp>
          <p:nvSpPr>
            <p:cNvPr id="17" name="Freeform 38">
              <a:extLst>
                <a:ext uri="{FF2B5EF4-FFF2-40B4-BE49-F238E27FC236}">
                  <a16:creationId xmlns:a16="http://schemas.microsoft.com/office/drawing/2014/main" id="{DB665266-C462-42A5-A4D5-0A4E4B3C8209}"/>
                </a:ext>
              </a:extLst>
            </p:cNvPr>
            <p:cNvSpPr/>
            <p:nvPr/>
          </p:nvSpPr>
          <p:spPr>
            <a:xfrm rot="10800000">
              <a:off x="7015354" y="5067473"/>
              <a:ext cx="3171078" cy="2379259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877803" y="1443354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egular"/>
                <a:ea typeface="+mn-ea"/>
                <a:cs typeface="+mn-cs"/>
              </a:endParaRPr>
            </a:p>
          </p:txBody>
        </p:sp>
      </p:grp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B74C0010-5739-4C1C-9594-DB2D0795E5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53291 w 12192000"/>
              <a:gd name="connsiteY0" fmla="*/ 4130612 h 6858000"/>
              <a:gd name="connsiteX1" fmla="*/ 353291 w 12192000"/>
              <a:gd name="connsiteY1" fmla="*/ 6524625 h 6858000"/>
              <a:gd name="connsiteX2" fmla="*/ 11838710 w 12192000"/>
              <a:gd name="connsiteY2" fmla="*/ 6524625 h 6858000"/>
              <a:gd name="connsiteX3" fmla="*/ 11838710 w 12192000"/>
              <a:gd name="connsiteY3" fmla="*/ 413061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53291" y="4130612"/>
                </a:moveTo>
                <a:lnTo>
                  <a:pt x="353291" y="6524625"/>
                </a:lnTo>
                <a:lnTo>
                  <a:pt x="11838710" y="6524625"/>
                </a:lnTo>
                <a:lnTo>
                  <a:pt x="11838710" y="413061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0" name="Freeform 41">
            <a:extLst>
              <a:ext uri="{FF2B5EF4-FFF2-40B4-BE49-F238E27FC236}">
                <a16:creationId xmlns:a16="http://schemas.microsoft.com/office/drawing/2014/main" id="{1E5B25EA-22B1-4940-A934-A419BAD5BEFE}"/>
              </a:ext>
            </a:extLst>
          </p:cNvPr>
          <p:cNvSpPr/>
          <p:nvPr userDrawn="1"/>
        </p:nvSpPr>
        <p:spPr>
          <a:xfrm>
            <a:off x="9034179" y="4306161"/>
            <a:ext cx="2639923" cy="2188975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B347AC67-6751-45BD-920D-C7678E7227D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2919" y="4670750"/>
            <a:ext cx="3007747" cy="503746"/>
          </a:xfrm>
          <a:prstGeom prst="rect">
            <a:avLst/>
          </a:prstGeom>
        </p:spPr>
      </p:pic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19B77B6-560F-4AB3-8F49-584C755101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4713" y="4589979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3200" kern="100" spc="0" baseline="0">
                <a:solidFill>
                  <a:schemeClr val="bg1"/>
                </a:solidFill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3617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A4A3A4"/>
          </p15:clr>
        </p15:guide>
        <p15:guide id="2" pos="483" userDrawn="1">
          <p15:clr>
            <a:srgbClr val="A4A3A4"/>
          </p15:clr>
        </p15:guide>
        <p15:guide id="4" orient="horz" pos="754" userDrawn="1">
          <p15:clr>
            <a:srgbClr val="A4A3A4"/>
          </p15:clr>
        </p15:guide>
        <p15:guide id="5" orient="horz" pos="64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  <p15:guide id="8" orient="horz" pos="4110" userDrawn="1">
          <p15:clr>
            <a:srgbClr val="F26B43"/>
          </p15:clr>
        </p15:guide>
        <p15:guide id="9" pos="226" userDrawn="1">
          <p15:clr>
            <a:srgbClr val="F26B43"/>
          </p15:clr>
        </p15:guide>
        <p15:guide id="10" pos="7452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mit Partnerlogo //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5464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9" name="Group 13">
            <a:extLst>
              <a:ext uri="{FF2B5EF4-FFF2-40B4-BE49-F238E27FC236}">
                <a16:creationId xmlns:a16="http://schemas.microsoft.com/office/drawing/2014/main" id="{335203DB-BB95-45FD-92B6-E081F17DE4F9}"/>
              </a:ext>
            </a:extLst>
          </p:cNvPr>
          <p:cNvGrpSpPr/>
          <p:nvPr userDrawn="1"/>
        </p:nvGrpSpPr>
        <p:grpSpPr>
          <a:xfrm>
            <a:off x="218788" y="4130611"/>
            <a:ext cx="11754424" cy="2396064"/>
            <a:chOff x="705451" y="5067472"/>
            <a:chExt cx="11671993" cy="2379260"/>
          </a:xfrm>
        </p:grpSpPr>
        <p:grpSp>
          <p:nvGrpSpPr>
            <p:cNvPr id="30" name="Group 15">
              <a:extLst>
                <a:ext uri="{FF2B5EF4-FFF2-40B4-BE49-F238E27FC236}">
                  <a16:creationId xmlns:a16="http://schemas.microsoft.com/office/drawing/2014/main" id="{AAA4E5A4-94CD-4627-AE97-DEF771CC8485}"/>
                </a:ext>
              </a:extLst>
            </p:cNvPr>
            <p:cNvGrpSpPr/>
            <p:nvPr/>
          </p:nvGrpSpPr>
          <p:grpSpPr>
            <a:xfrm>
              <a:off x="705451" y="5067472"/>
              <a:ext cx="11671993" cy="2379260"/>
              <a:chOff x="833963" y="4724559"/>
              <a:chExt cx="13798285" cy="2812691"/>
            </a:xfrm>
          </p:grpSpPr>
          <p:sp>
            <p:nvSpPr>
              <p:cNvPr id="32" name="Rectangle 17">
                <a:extLst>
                  <a:ext uri="{FF2B5EF4-FFF2-40B4-BE49-F238E27FC236}">
                    <a16:creationId xmlns:a16="http://schemas.microsoft.com/office/drawing/2014/main" id="{49DF0C5F-5F84-4CEC-84D6-C9910C47507D}"/>
                  </a:ext>
                </a:extLst>
              </p:cNvPr>
              <p:cNvSpPr/>
              <p:nvPr/>
            </p:nvSpPr>
            <p:spPr>
              <a:xfrm>
                <a:off x="833963" y="4724559"/>
                <a:ext cx="13276469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  <p:sp>
            <p:nvSpPr>
              <p:cNvPr id="33" name="Rectangle 18">
                <a:extLst>
                  <a:ext uri="{FF2B5EF4-FFF2-40B4-BE49-F238E27FC236}">
                    <a16:creationId xmlns:a16="http://schemas.microsoft.com/office/drawing/2014/main" id="{5C7CF1D4-9F77-4732-A3CE-9212756F6675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</p:grpSp>
        <p:sp>
          <p:nvSpPr>
            <p:cNvPr id="31" name="Freeform 38">
              <a:extLst>
                <a:ext uri="{FF2B5EF4-FFF2-40B4-BE49-F238E27FC236}">
                  <a16:creationId xmlns:a16="http://schemas.microsoft.com/office/drawing/2014/main" id="{1B2B8562-DFB8-4D2A-A47E-0EBC958016A1}"/>
                </a:ext>
              </a:extLst>
            </p:cNvPr>
            <p:cNvSpPr/>
            <p:nvPr/>
          </p:nvSpPr>
          <p:spPr>
            <a:xfrm rot="10800000">
              <a:off x="7015354" y="5067473"/>
              <a:ext cx="3171078" cy="2379259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877803" y="1443354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egular"/>
                <a:ea typeface="+mn-ea"/>
                <a:cs typeface="+mn-cs"/>
              </a:endParaRPr>
            </a:p>
          </p:txBody>
        </p:sp>
      </p:grpSp>
      <p:grpSp>
        <p:nvGrpSpPr>
          <p:cNvPr id="15" name="Group 13">
            <a:extLst>
              <a:ext uri="{FF2B5EF4-FFF2-40B4-BE49-F238E27FC236}">
                <a16:creationId xmlns:a16="http://schemas.microsoft.com/office/drawing/2014/main" id="{87F5A82D-EEDB-48C0-9382-EE0628DDB34F}"/>
              </a:ext>
            </a:extLst>
          </p:cNvPr>
          <p:cNvGrpSpPr/>
          <p:nvPr userDrawn="1"/>
        </p:nvGrpSpPr>
        <p:grpSpPr>
          <a:xfrm>
            <a:off x="359290" y="4130611"/>
            <a:ext cx="11613922" cy="2396064"/>
            <a:chOff x="844968" y="5067472"/>
            <a:chExt cx="11532476" cy="2379260"/>
          </a:xfrm>
        </p:grpSpPr>
        <p:grpSp>
          <p:nvGrpSpPr>
            <p:cNvPr id="22" name="Group 15">
              <a:extLst>
                <a:ext uri="{FF2B5EF4-FFF2-40B4-BE49-F238E27FC236}">
                  <a16:creationId xmlns:a16="http://schemas.microsoft.com/office/drawing/2014/main" id="{0C85F3B6-DE09-41F2-92AB-4AF818562994}"/>
                </a:ext>
              </a:extLst>
            </p:cNvPr>
            <p:cNvGrpSpPr/>
            <p:nvPr/>
          </p:nvGrpSpPr>
          <p:grpSpPr>
            <a:xfrm>
              <a:off x="844968" y="5067472"/>
              <a:ext cx="11532476" cy="2379260"/>
              <a:chOff x="998896" y="4724559"/>
              <a:chExt cx="13633352" cy="2812691"/>
            </a:xfrm>
          </p:grpSpPr>
          <p:sp>
            <p:nvSpPr>
              <p:cNvPr id="27" name="Rectangle 17">
                <a:extLst>
                  <a:ext uri="{FF2B5EF4-FFF2-40B4-BE49-F238E27FC236}">
                    <a16:creationId xmlns:a16="http://schemas.microsoft.com/office/drawing/2014/main" id="{9D1197FA-2349-4878-8140-4CBC5EC9E534}"/>
                  </a:ext>
                </a:extLst>
              </p:cNvPr>
              <p:cNvSpPr/>
              <p:nvPr/>
            </p:nvSpPr>
            <p:spPr>
              <a:xfrm>
                <a:off x="998896" y="4724559"/>
                <a:ext cx="13111536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  <p:sp>
            <p:nvSpPr>
              <p:cNvPr id="28" name="Rectangle 18">
                <a:extLst>
                  <a:ext uri="{FF2B5EF4-FFF2-40B4-BE49-F238E27FC236}">
                    <a16:creationId xmlns:a16="http://schemas.microsoft.com/office/drawing/2014/main" id="{5CD863F0-DA7E-4ED3-9AFB-3FC439CFDF59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</p:grpSp>
        <p:sp>
          <p:nvSpPr>
            <p:cNvPr id="24" name="Freeform 38">
              <a:extLst>
                <a:ext uri="{FF2B5EF4-FFF2-40B4-BE49-F238E27FC236}">
                  <a16:creationId xmlns:a16="http://schemas.microsoft.com/office/drawing/2014/main" id="{725F7311-C3D1-45E1-B266-854264697917}"/>
                </a:ext>
              </a:extLst>
            </p:cNvPr>
            <p:cNvSpPr/>
            <p:nvPr/>
          </p:nvSpPr>
          <p:spPr>
            <a:xfrm rot="10800000">
              <a:off x="7015354" y="5067473"/>
              <a:ext cx="3171078" cy="2379259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877803" y="1443354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egular"/>
                <a:ea typeface="+mn-ea"/>
                <a:cs typeface="+mn-cs"/>
              </a:endParaRPr>
            </a:p>
          </p:txBody>
        </p:sp>
      </p:grp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B74C0010-5739-4C1C-9594-DB2D0795E5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53291 w 12192000"/>
              <a:gd name="connsiteY0" fmla="*/ 4130612 h 6858000"/>
              <a:gd name="connsiteX1" fmla="*/ 353291 w 12192000"/>
              <a:gd name="connsiteY1" fmla="*/ 6524625 h 6858000"/>
              <a:gd name="connsiteX2" fmla="*/ 11838710 w 12192000"/>
              <a:gd name="connsiteY2" fmla="*/ 6524625 h 6858000"/>
              <a:gd name="connsiteX3" fmla="*/ 11838710 w 12192000"/>
              <a:gd name="connsiteY3" fmla="*/ 413061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53291" y="4130612"/>
                </a:moveTo>
                <a:lnTo>
                  <a:pt x="353291" y="6524625"/>
                </a:lnTo>
                <a:lnTo>
                  <a:pt x="11838710" y="6524625"/>
                </a:lnTo>
                <a:lnTo>
                  <a:pt x="11838710" y="413061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0" name="Freeform 41">
            <a:extLst>
              <a:ext uri="{FF2B5EF4-FFF2-40B4-BE49-F238E27FC236}">
                <a16:creationId xmlns:a16="http://schemas.microsoft.com/office/drawing/2014/main" id="{1E5B25EA-22B1-4940-A934-A419BAD5BEFE}"/>
              </a:ext>
            </a:extLst>
          </p:cNvPr>
          <p:cNvSpPr/>
          <p:nvPr userDrawn="1"/>
        </p:nvSpPr>
        <p:spPr>
          <a:xfrm>
            <a:off x="9034179" y="4306161"/>
            <a:ext cx="2639923" cy="2188975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B347AC67-6751-45BD-920D-C7678E7227D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2919" y="4670750"/>
            <a:ext cx="3007747" cy="503746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35A0093-C8EA-44AF-B4B0-FF9BBF7FEE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4713" y="4589979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3200" kern="100" spc="0" baseline="0">
                <a:solidFill>
                  <a:schemeClr val="bg1"/>
                </a:solidFill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6C0C2256-F31B-4578-8FDF-D88F94784B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582025" y="5438409"/>
            <a:ext cx="2206625" cy="552450"/>
          </a:xfrm>
          <a:custGeom>
            <a:avLst/>
            <a:gdLst>
              <a:gd name="connsiteX0" fmla="*/ 92077 w 2206625"/>
              <a:gd name="connsiteY0" fmla="*/ 0 h 552450"/>
              <a:gd name="connsiteX1" fmla="*/ 2114548 w 2206625"/>
              <a:gd name="connsiteY1" fmla="*/ 0 h 552450"/>
              <a:gd name="connsiteX2" fmla="*/ 2206625 w 2206625"/>
              <a:gd name="connsiteY2" fmla="*/ 92077 h 552450"/>
              <a:gd name="connsiteX3" fmla="*/ 2206625 w 2206625"/>
              <a:gd name="connsiteY3" fmla="*/ 460373 h 552450"/>
              <a:gd name="connsiteX4" fmla="*/ 2114548 w 2206625"/>
              <a:gd name="connsiteY4" fmla="*/ 552450 h 552450"/>
              <a:gd name="connsiteX5" fmla="*/ 92077 w 2206625"/>
              <a:gd name="connsiteY5" fmla="*/ 552450 h 552450"/>
              <a:gd name="connsiteX6" fmla="*/ 0 w 2206625"/>
              <a:gd name="connsiteY6" fmla="*/ 460373 h 552450"/>
              <a:gd name="connsiteX7" fmla="*/ 0 w 2206625"/>
              <a:gd name="connsiteY7" fmla="*/ 92077 h 552450"/>
              <a:gd name="connsiteX8" fmla="*/ 92077 w 2206625"/>
              <a:gd name="connsiteY8" fmla="*/ 0 h 552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06625" h="552450">
                <a:moveTo>
                  <a:pt x="92077" y="0"/>
                </a:moveTo>
                <a:lnTo>
                  <a:pt x="2114548" y="0"/>
                </a:lnTo>
                <a:cubicBezTo>
                  <a:pt x="2165401" y="0"/>
                  <a:pt x="2206625" y="41224"/>
                  <a:pt x="2206625" y="92077"/>
                </a:cubicBezTo>
                <a:lnTo>
                  <a:pt x="2206625" y="460373"/>
                </a:lnTo>
                <a:cubicBezTo>
                  <a:pt x="2206625" y="511226"/>
                  <a:pt x="2165401" y="552450"/>
                  <a:pt x="2114548" y="552450"/>
                </a:cubicBezTo>
                <a:lnTo>
                  <a:pt x="92077" y="552450"/>
                </a:lnTo>
                <a:cubicBezTo>
                  <a:pt x="41224" y="552450"/>
                  <a:pt x="0" y="511226"/>
                  <a:pt x="0" y="460373"/>
                </a:cubicBezTo>
                <a:lnTo>
                  <a:pt x="0" y="92077"/>
                </a:lnTo>
                <a:cubicBezTo>
                  <a:pt x="0" y="41224"/>
                  <a:pt x="41224" y="0"/>
                  <a:pt x="92077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798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A4A3A4"/>
          </p15:clr>
        </p15:guide>
        <p15:guide id="2" pos="483" userDrawn="1">
          <p15:clr>
            <a:srgbClr val="A4A3A4"/>
          </p15:clr>
        </p15:guide>
        <p15:guide id="4" orient="horz" pos="754" userDrawn="1">
          <p15:clr>
            <a:srgbClr val="A4A3A4"/>
          </p15:clr>
        </p15:guide>
        <p15:guide id="5" orient="horz" pos="64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  <p15:guide id="8" orient="horz" pos="4110" userDrawn="1">
          <p15:clr>
            <a:srgbClr val="F26B43"/>
          </p15:clr>
        </p15:guide>
        <p15:guide id="9" pos="226" userDrawn="1">
          <p15:clr>
            <a:srgbClr val="F26B43"/>
          </p15:clr>
        </p15:guide>
        <p15:guide id="10" pos="7452" userDrawn="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folie // Bilplatzhalter mit Text (1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662DB07-81B8-4BDA-8345-7D0D9D3C5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9011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7AFB56EF-E792-40E5-AEB2-936FD2D0D4D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61991 w 12192000"/>
              <a:gd name="connsiteY0" fmla="*/ 339114 h 6858000"/>
              <a:gd name="connsiteX1" fmla="*/ 1 w 12192000"/>
              <a:gd name="connsiteY1" fmla="*/ 410557 h 6858000"/>
              <a:gd name="connsiteX2" fmla="*/ 1 w 12192000"/>
              <a:gd name="connsiteY2" fmla="*/ 421468 h 6858000"/>
              <a:gd name="connsiteX3" fmla="*/ 1 w 12192000"/>
              <a:gd name="connsiteY3" fmla="*/ 426812 h 6858000"/>
              <a:gd name="connsiteX4" fmla="*/ 1 w 12192000"/>
              <a:gd name="connsiteY4" fmla="*/ 445011 h 6858000"/>
              <a:gd name="connsiteX5" fmla="*/ 1 w 12192000"/>
              <a:gd name="connsiteY5" fmla="*/ 465201 h 6858000"/>
              <a:gd name="connsiteX6" fmla="*/ 1 w 12192000"/>
              <a:gd name="connsiteY6" fmla="*/ 470545 h 6858000"/>
              <a:gd name="connsiteX7" fmla="*/ 1 w 12192000"/>
              <a:gd name="connsiteY7" fmla="*/ 490176 h 6858000"/>
              <a:gd name="connsiteX8" fmla="*/ 1 w 12192000"/>
              <a:gd name="connsiteY8" fmla="*/ 510367 h 6858000"/>
              <a:gd name="connsiteX9" fmla="*/ 1 w 12192000"/>
              <a:gd name="connsiteY9" fmla="*/ 515710 h 6858000"/>
              <a:gd name="connsiteX10" fmla="*/ 1 w 12192000"/>
              <a:gd name="connsiteY10" fmla="*/ 523515 h 6858000"/>
              <a:gd name="connsiteX11" fmla="*/ 1 w 12192000"/>
              <a:gd name="connsiteY11" fmla="*/ 533909 h 6858000"/>
              <a:gd name="connsiteX12" fmla="*/ 1 w 12192000"/>
              <a:gd name="connsiteY12" fmla="*/ 543706 h 6858000"/>
              <a:gd name="connsiteX13" fmla="*/ 1 w 12192000"/>
              <a:gd name="connsiteY13" fmla="*/ 549050 h 6858000"/>
              <a:gd name="connsiteX14" fmla="*/ 1 w 12192000"/>
              <a:gd name="connsiteY14" fmla="*/ 554100 h 6858000"/>
              <a:gd name="connsiteX15" fmla="*/ 1 w 12192000"/>
              <a:gd name="connsiteY15" fmla="*/ 559443 h 6858000"/>
              <a:gd name="connsiteX16" fmla="*/ 1 w 12192000"/>
              <a:gd name="connsiteY16" fmla="*/ 567248 h 6858000"/>
              <a:gd name="connsiteX17" fmla="*/ 1 w 12192000"/>
              <a:gd name="connsiteY17" fmla="*/ 587439 h 6858000"/>
              <a:gd name="connsiteX18" fmla="*/ 1 w 12192000"/>
              <a:gd name="connsiteY18" fmla="*/ 592783 h 6858000"/>
              <a:gd name="connsiteX19" fmla="*/ 1 w 12192000"/>
              <a:gd name="connsiteY19" fmla="*/ 612414 h 6858000"/>
              <a:gd name="connsiteX20" fmla="*/ 1 w 12192000"/>
              <a:gd name="connsiteY20" fmla="*/ 632604 h 6858000"/>
              <a:gd name="connsiteX21" fmla="*/ 1 w 12192000"/>
              <a:gd name="connsiteY21" fmla="*/ 637948 h 6858000"/>
              <a:gd name="connsiteX22" fmla="*/ 1 w 12192000"/>
              <a:gd name="connsiteY22" fmla="*/ 656147 h 6858000"/>
              <a:gd name="connsiteX23" fmla="*/ 1 w 12192000"/>
              <a:gd name="connsiteY23" fmla="*/ 676337 h 6858000"/>
              <a:gd name="connsiteX24" fmla="*/ 1 w 12192000"/>
              <a:gd name="connsiteY24" fmla="*/ 681681 h 6858000"/>
              <a:gd name="connsiteX25" fmla="*/ 1 w 12192000"/>
              <a:gd name="connsiteY25" fmla="*/ 744823 h 6858000"/>
              <a:gd name="connsiteX26" fmla="*/ 1 w 12192000"/>
              <a:gd name="connsiteY26" fmla="*/ 744923 h 6858000"/>
              <a:gd name="connsiteX27" fmla="*/ 1 w 12192000"/>
              <a:gd name="connsiteY27" fmla="*/ 788556 h 6858000"/>
              <a:gd name="connsiteX28" fmla="*/ 1 w 12192000"/>
              <a:gd name="connsiteY28" fmla="*/ 788656 h 6858000"/>
              <a:gd name="connsiteX29" fmla="*/ 1 w 12192000"/>
              <a:gd name="connsiteY29" fmla="*/ 806425 h 6858000"/>
              <a:gd name="connsiteX30" fmla="*/ 1 w 12192000"/>
              <a:gd name="connsiteY30" fmla="*/ 826616 h 6858000"/>
              <a:gd name="connsiteX31" fmla="*/ 1 w 12192000"/>
              <a:gd name="connsiteY31" fmla="*/ 833721 h 6858000"/>
              <a:gd name="connsiteX32" fmla="*/ 1 w 12192000"/>
              <a:gd name="connsiteY32" fmla="*/ 833821 h 6858000"/>
              <a:gd name="connsiteX33" fmla="*/ 1 w 12192000"/>
              <a:gd name="connsiteY33" fmla="*/ 850158 h 6858000"/>
              <a:gd name="connsiteX34" fmla="*/ 1 w 12192000"/>
              <a:gd name="connsiteY34" fmla="*/ 867061 h 6858000"/>
              <a:gd name="connsiteX35" fmla="*/ 1 w 12192000"/>
              <a:gd name="connsiteY35" fmla="*/ 867160 h 6858000"/>
              <a:gd name="connsiteX36" fmla="*/ 1 w 12192000"/>
              <a:gd name="connsiteY36" fmla="*/ 870349 h 6858000"/>
              <a:gd name="connsiteX37" fmla="*/ 1 w 12192000"/>
              <a:gd name="connsiteY37" fmla="*/ 877454 h 6858000"/>
              <a:gd name="connsiteX38" fmla="*/ 1 w 12192000"/>
              <a:gd name="connsiteY38" fmla="*/ 877554 h 6858000"/>
              <a:gd name="connsiteX39" fmla="*/ 1 w 12192000"/>
              <a:gd name="connsiteY39" fmla="*/ 895324 h 6858000"/>
              <a:gd name="connsiteX40" fmla="*/ 1 w 12192000"/>
              <a:gd name="connsiteY40" fmla="*/ 910794 h 6858000"/>
              <a:gd name="connsiteX41" fmla="*/ 1 w 12192000"/>
              <a:gd name="connsiteY41" fmla="*/ 910893 h 6858000"/>
              <a:gd name="connsiteX42" fmla="*/ 1 w 12192000"/>
              <a:gd name="connsiteY42" fmla="*/ 915514 h 6858000"/>
              <a:gd name="connsiteX43" fmla="*/ 1 w 12192000"/>
              <a:gd name="connsiteY43" fmla="*/ 928663 h 6858000"/>
              <a:gd name="connsiteX44" fmla="*/ 1 w 12192000"/>
              <a:gd name="connsiteY44" fmla="*/ 939057 h 6858000"/>
              <a:gd name="connsiteX45" fmla="*/ 1 w 12192000"/>
              <a:gd name="connsiteY45" fmla="*/ 948854 h 6858000"/>
              <a:gd name="connsiteX46" fmla="*/ 1 w 12192000"/>
              <a:gd name="connsiteY46" fmla="*/ 955959 h 6858000"/>
              <a:gd name="connsiteX47" fmla="*/ 1 w 12192000"/>
              <a:gd name="connsiteY47" fmla="*/ 956059 h 6858000"/>
              <a:gd name="connsiteX48" fmla="*/ 1 w 12192000"/>
              <a:gd name="connsiteY48" fmla="*/ 959247 h 6858000"/>
              <a:gd name="connsiteX49" fmla="*/ 1 w 12192000"/>
              <a:gd name="connsiteY49" fmla="*/ 972396 h 6858000"/>
              <a:gd name="connsiteX50" fmla="*/ 1 w 12192000"/>
              <a:gd name="connsiteY50" fmla="*/ 992587 h 6858000"/>
              <a:gd name="connsiteX51" fmla="*/ 1 w 12192000"/>
              <a:gd name="connsiteY51" fmla="*/ 999692 h 6858000"/>
              <a:gd name="connsiteX52" fmla="*/ 1 w 12192000"/>
              <a:gd name="connsiteY52" fmla="*/ 999792 h 6858000"/>
              <a:gd name="connsiteX53" fmla="*/ 1 w 12192000"/>
              <a:gd name="connsiteY53" fmla="*/ 1017561 h 6858000"/>
              <a:gd name="connsiteX54" fmla="*/ 1 w 12192000"/>
              <a:gd name="connsiteY54" fmla="*/ 1037752 h 6858000"/>
              <a:gd name="connsiteX55" fmla="*/ 1 w 12192000"/>
              <a:gd name="connsiteY55" fmla="*/ 1061294 h 6858000"/>
              <a:gd name="connsiteX56" fmla="*/ 1 w 12192000"/>
              <a:gd name="connsiteY56" fmla="*/ 1081485 h 6858000"/>
              <a:gd name="connsiteX57" fmla="*/ 661991 w 12192000"/>
              <a:gd name="connsiteY57" fmla="*/ 1010042 h 6858000"/>
              <a:gd name="connsiteX58" fmla="*/ 661991 w 12192000"/>
              <a:gd name="connsiteY58" fmla="*/ 999792 h 6858000"/>
              <a:gd name="connsiteX59" fmla="*/ 661991 w 12192000"/>
              <a:gd name="connsiteY59" fmla="*/ 999692 h 6858000"/>
              <a:gd name="connsiteX60" fmla="*/ 661991 w 12192000"/>
              <a:gd name="connsiteY60" fmla="*/ 989851 h 6858000"/>
              <a:gd name="connsiteX61" fmla="*/ 661991 w 12192000"/>
              <a:gd name="connsiteY61" fmla="*/ 976580 h 6858000"/>
              <a:gd name="connsiteX62" fmla="*/ 661991 w 12192000"/>
              <a:gd name="connsiteY62" fmla="*/ 966309 h 6858000"/>
              <a:gd name="connsiteX63" fmla="*/ 661991 w 12192000"/>
              <a:gd name="connsiteY63" fmla="*/ 956059 h 6858000"/>
              <a:gd name="connsiteX64" fmla="*/ 661991 w 12192000"/>
              <a:gd name="connsiteY64" fmla="*/ 955959 h 6858000"/>
              <a:gd name="connsiteX65" fmla="*/ 661991 w 12192000"/>
              <a:gd name="connsiteY65" fmla="*/ 946118 h 6858000"/>
              <a:gd name="connsiteX66" fmla="*/ 661991 w 12192000"/>
              <a:gd name="connsiteY66" fmla="*/ 932847 h 6858000"/>
              <a:gd name="connsiteX67" fmla="*/ 661991 w 12192000"/>
              <a:gd name="connsiteY67" fmla="*/ 921144 h 6858000"/>
              <a:gd name="connsiteX68" fmla="*/ 661991 w 12192000"/>
              <a:gd name="connsiteY68" fmla="*/ 915078 h 6858000"/>
              <a:gd name="connsiteX69" fmla="*/ 661991 w 12192000"/>
              <a:gd name="connsiteY69" fmla="*/ 910893 h 6858000"/>
              <a:gd name="connsiteX70" fmla="*/ 661991 w 12192000"/>
              <a:gd name="connsiteY70" fmla="*/ 910794 h 6858000"/>
              <a:gd name="connsiteX71" fmla="*/ 661991 w 12192000"/>
              <a:gd name="connsiteY71" fmla="*/ 900953 h 6858000"/>
              <a:gd name="connsiteX72" fmla="*/ 661991 w 12192000"/>
              <a:gd name="connsiteY72" fmla="*/ 894886 h 6858000"/>
              <a:gd name="connsiteX73" fmla="*/ 661991 w 12192000"/>
              <a:gd name="connsiteY73" fmla="*/ 887805 h 6858000"/>
              <a:gd name="connsiteX74" fmla="*/ 661991 w 12192000"/>
              <a:gd name="connsiteY74" fmla="*/ 887681 h 6858000"/>
              <a:gd name="connsiteX75" fmla="*/ 661991 w 12192000"/>
              <a:gd name="connsiteY75" fmla="*/ 877554 h 6858000"/>
              <a:gd name="connsiteX76" fmla="*/ 661991 w 12192000"/>
              <a:gd name="connsiteY76" fmla="*/ 877454 h 6858000"/>
              <a:gd name="connsiteX77" fmla="*/ 661991 w 12192000"/>
              <a:gd name="connsiteY77" fmla="*/ 877411 h 6858000"/>
              <a:gd name="connsiteX78" fmla="*/ 661991 w 12192000"/>
              <a:gd name="connsiteY78" fmla="*/ 871345 h 6858000"/>
              <a:gd name="connsiteX79" fmla="*/ 661991 w 12192000"/>
              <a:gd name="connsiteY79" fmla="*/ 867613 h 6858000"/>
              <a:gd name="connsiteX80" fmla="*/ 661991 w 12192000"/>
              <a:gd name="connsiteY80" fmla="*/ 867160 h 6858000"/>
              <a:gd name="connsiteX81" fmla="*/ 661991 w 12192000"/>
              <a:gd name="connsiteY81" fmla="*/ 867061 h 6858000"/>
              <a:gd name="connsiteX82" fmla="*/ 661991 w 12192000"/>
              <a:gd name="connsiteY82" fmla="*/ 857220 h 6858000"/>
              <a:gd name="connsiteX83" fmla="*/ 661991 w 12192000"/>
              <a:gd name="connsiteY83" fmla="*/ 854342 h 6858000"/>
              <a:gd name="connsiteX84" fmla="*/ 661991 w 12192000"/>
              <a:gd name="connsiteY84" fmla="*/ 851153 h 6858000"/>
              <a:gd name="connsiteX85" fmla="*/ 661991 w 12192000"/>
              <a:gd name="connsiteY85" fmla="*/ 844072 h 6858000"/>
              <a:gd name="connsiteX86" fmla="*/ 661991 w 12192000"/>
              <a:gd name="connsiteY86" fmla="*/ 843948 h 6858000"/>
              <a:gd name="connsiteX87" fmla="*/ 661991 w 12192000"/>
              <a:gd name="connsiteY87" fmla="*/ 833821 h 6858000"/>
              <a:gd name="connsiteX88" fmla="*/ 661991 w 12192000"/>
              <a:gd name="connsiteY88" fmla="*/ 833721 h 6858000"/>
              <a:gd name="connsiteX89" fmla="*/ 661991 w 12192000"/>
              <a:gd name="connsiteY89" fmla="*/ 826180 h 6858000"/>
              <a:gd name="connsiteX90" fmla="*/ 661991 w 12192000"/>
              <a:gd name="connsiteY90" fmla="*/ 823880 h 6858000"/>
              <a:gd name="connsiteX91" fmla="*/ 661991 w 12192000"/>
              <a:gd name="connsiteY91" fmla="*/ 810609 h 6858000"/>
              <a:gd name="connsiteX92" fmla="*/ 661991 w 12192000"/>
              <a:gd name="connsiteY92" fmla="*/ 805988 h 6858000"/>
              <a:gd name="connsiteX93" fmla="*/ 661991 w 12192000"/>
              <a:gd name="connsiteY93" fmla="*/ 798906 h 6858000"/>
              <a:gd name="connsiteX94" fmla="*/ 661991 w 12192000"/>
              <a:gd name="connsiteY94" fmla="*/ 792840 h 6858000"/>
              <a:gd name="connsiteX95" fmla="*/ 661991 w 12192000"/>
              <a:gd name="connsiteY95" fmla="*/ 788656 h 6858000"/>
              <a:gd name="connsiteX96" fmla="*/ 661991 w 12192000"/>
              <a:gd name="connsiteY96" fmla="*/ 788556 h 6858000"/>
              <a:gd name="connsiteX97" fmla="*/ 661991 w 12192000"/>
              <a:gd name="connsiteY97" fmla="*/ 782447 h 6858000"/>
              <a:gd name="connsiteX98" fmla="*/ 661991 w 12192000"/>
              <a:gd name="connsiteY98" fmla="*/ 778715 h 6858000"/>
              <a:gd name="connsiteX99" fmla="*/ 661991 w 12192000"/>
              <a:gd name="connsiteY99" fmla="*/ 772649 h 6858000"/>
              <a:gd name="connsiteX100" fmla="*/ 661991 w 12192000"/>
              <a:gd name="connsiteY100" fmla="*/ 765444 h 6858000"/>
              <a:gd name="connsiteX101" fmla="*/ 661991 w 12192000"/>
              <a:gd name="connsiteY101" fmla="*/ 762255 h 6858000"/>
              <a:gd name="connsiteX102" fmla="*/ 661991 w 12192000"/>
              <a:gd name="connsiteY102" fmla="*/ 755173 h 6858000"/>
              <a:gd name="connsiteX103" fmla="*/ 661991 w 12192000"/>
              <a:gd name="connsiteY103" fmla="*/ 749107 h 6858000"/>
              <a:gd name="connsiteX104" fmla="*/ 661991 w 12192000"/>
              <a:gd name="connsiteY104" fmla="*/ 744923 h 6858000"/>
              <a:gd name="connsiteX105" fmla="*/ 661991 w 12192000"/>
              <a:gd name="connsiteY105" fmla="*/ 744823 h 6858000"/>
              <a:gd name="connsiteX106" fmla="*/ 661991 w 12192000"/>
              <a:gd name="connsiteY106" fmla="*/ 734982 h 6858000"/>
              <a:gd name="connsiteX107" fmla="*/ 661991 w 12192000"/>
              <a:gd name="connsiteY107" fmla="*/ 728916 h 6858000"/>
              <a:gd name="connsiteX108" fmla="*/ 661991 w 12192000"/>
              <a:gd name="connsiteY108" fmla="*/ 721711 h 6858000"/>
              <a:gd name="connsiteX109" fmla="*/ 661991 w 12192000"/>
              <a:gd name="connsiteY109" fmla="*/ 703942 h 6858000"/>
              <a:gd name="connsiteX110" fmla="*/ 661991 w 12192000"/>
              <a:gd name="connsiteY110" fmla="*/ 689608 h 6858000"/>
              <a:gd name="connsiteX111" fmla="*/ 661991 w 12192000"/>
              <a:gd name="connsiteY111" fmla="*/ 683750 h 6858000"/>
              <a:gd name="connsiteX112" fmla="*/ 661991 w 12192000"/>
              <a:gd name="connsiteY112" fmla="*/ 681681 h 6858000"/>
              <a:gd name="connsiteX113" fmla="*/ 661991 w 12192000"/>
              <a:gd name="connsiteY113" fmla="*/ 660209 h 6858000"/>
              <a:gd name="connsiteX114" fmla="*/ 661991 w 12192000"/>
              <a:gd name="connsiteY114" fmla="*/ 645875 h 6858000"/>
              <a:gd name="connsiteX115" fmla="*/ 661991 w 12192000"/>
              <a:gd name="connsiteY115" fmla="*/ 640017 h 6858000"/>
              <a:gd name="connsiteX116" fmla="*/ 661991 w 12192000"/>
              <a:gd name="connsiteY116" fmla="*/ 637948 h 6858000"/>
              <a:gd name="connsiteX117" fmla="*/ 661991 w 12192000"/>
              <a:gd name="connsiteY117" fmla="*/ 604895 h 6858000"/>
              <a:gd name="connsiteX118" fmla="*/ 661991 w 12192000"/>
              <a:gd name="connsiteY118" fmla="*/ 600710 h 6858000"/>
              <a:gd name="connsiteX119" fmla="*/ 661991 w 12192000"/>
              <a:gd name="connsiteY119" fmla="*/ 592783 h 6858000"/>
              <a:gd name="connsiteX120" fmla="*/ 661991 w 12192000"/>
              <a:gd name="connsiteY120" fmla="*/ 584703 h 6858000"/>
              <a:gd name="connsiteX121" fmla="*/ 661991 w 12192000"/>
              <a:gd name="connsiteY121" fmla="*/ 567371 h 6858000"/>
              <a:gd name="connsiteX122" fmla="*/ 661991 w 12192000"/>
              <a:gd name="connsiteY122" fmla="*/ 561162 h 6858000"/>
              <a:gd name="connsiteX123" fmla="*/ 661991 w 12192000"/>
              <a:gd name="connsiteY123" fmla="*/ 559443 h 6858000"/>
              <a:gd name="connsiteX124" fmla="*/ 661991 w 12192000"/>
              <a:gd name="connsiteY124" fmla="*/ 556977 h 6858000"/>
              <a:gd name="connsiteX125" fmla="*/ 661991 w 12192000"/>
              <a:gd name="connsiteY125" fmla="*/ 549050 h 6858000"/>
              <a:gd name="connsiteX126" fmla="*/ 661991 w 12192000"/>
              <a:gd name="connsiteY126" fmla="*/ 540970 h 6858000"/>
              <a:gd name="connsiteX127" fmla="*/ 661991 w 12192000"/>
              <a:gd name="connsiteY127" fmla="*/ 523638 h 6858000"/>
              <a:gd name="connsiteX128" fmla="*/ 661991 w 12192000"/>
              <a:gd name="connsiteY128" fmla="*/ 515996 h 6858000"/>
              <a:gd name="connsiteX129" fmla="*/ 661991 w 12192000"/>
              <a:gd name="connsiteY129" fmla="*/ 515710 h 6858000"/>
              <a:gd name="connsiteX130" fmla="*/ 661991 w 12192000"/>
              <a:gd name="connsiteY130" fmla="*/ 495805 h 6858000"/>
              <a:gd name="connsiteX131" fmla="*/ 661991 w 12192000"/>
              <a:gd name="connsiteY131" fmla="*/ 482657 h 6858000"/>
              <a:gd name="connsiteX132" fmla="*/ 661991 w 12192000"/>
              <a:gd name="connsiteY132" fmla="*/ 478472 h 6858000"/>
              <a:gd name="connsiteX133" fmla="*/ 661991 w 12192000"/>
              <a:gd name="connsiteY133" fmla="*/ 472263 h 6858000"/>
              <a:gd name="connsiteX134" fmla="*/ 661991 w 12192000"/>
              <a:gd name="connsiteY134" fmla="*/ 470545 h 6858000"/>
              <a:gd name="connsiteX135" fmla="*/ 661991 w 12192000"/>
              <a:gd name="connsiteY135" fmla="*/ 462465 h 6858000"/>
              <a:gd name="connsiteX136" fmla="*/ 661991 w 12192000"/>
              <a:gd name="connsiteY136" fmla="*/ 452072 h 6858000"/>
              <a:gd name="connsiteX137" fmla="*/ 661991 w 12192000"/>
              <a:gd name="connsiteY137" fmla="*/ 438924 h 6858000"/>
              <a:gd name="connsiteX138" fmla="*/ 661991 w 12192000"/>
              <a:gd name="connsiteY138" fmla="*/ 434739 h 6858000"/>
              <a:gd name="connsiteX139" fmla="*/ 661991 w 12192000"/>
              <a:gd name="connsiteY139" fmla="*/ 426812 h 6858000"/>
              <a:gd name="connsiteX140" fmla="*/ 661991 w 12192000"/>
              <a:gd name="connsiteY140" fmla="*/ 418732 h 6858000"/>
              <a:gd name="connsiteX141" fmla="*/ 661991 w 12192000"/>
              <a:gd name="connsiteY141" fmla="*/ 393759 h 6858000"/>
              <a:gd name="connsiteX142" fmla="*/ 661991 w 12192000"/>
              <a:gd name="connsiteY142" fmla="*/ 373567 h 6858000"/>
              <a:gd name="connsiteX143" fmla="*/ 661991 w 12192000"/>
              <a:gd name="connsiteY143" fmla="*/ 350026 h 6858000"/>
              <a:gd name="connsiteX144" fmla="*/ 0 w 12192000"/>
              <a:gd name="connsiteY144" fmla="*/ 0 h 6858000"/>
              <a:gd name="connsiteX145" fmla="*/ 12192000 w 12192000"/>
              <a:gd name="connsiteY145" fmla="*/ 0 h 6858000"/>
              <a:gd name="connsiteX146" fmla="*/ 12192000 w 12192000"/>
              <a:gd name="connsiteY146" fmla="*/ 6858000 h 6858000"/>
              <a:gd name="connsiteX147" fmla="*/ 0 w 12192000"/>
              <a:gd name="connsiteY14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12192000" h="6858000">
                <a:moveTo>
                  <a:pt x="661991" y="339114"/>
                </a:moveTo>
                <a:lnTo>
                  <a:pt x="1" y="410557"/>
                </a:lnTo>
                <a:lnTo>
                  <a:pt x="1" y="421468"/>
                </a:lnTo>
                <a:lnTo>
                  <a:pt x="1" y="426812"/>
                </a:lnTo>
                <a:lnTo>
                  <a:pt x="1" y="445011"/>
                </a:lnTo>
                <a:lnTo>
                  <a:pt x="1" y="465201"/>
                </a:lnTo>
                <a:lnTo>
                  <a:pt x="1" y="470545"/>
                </a:lnTo>
                <a:lnTo>
                  <a:pt x="1" y="490176"/>
                </a:lnTo>
                <a:lnTo>
                  <a:pt x="1" y="510367"/>
                </a:lnTo>
                <a:lnTo>
                  <a:pt x="1" y="515710"/>
                </a:lnTo>
                <a:lnTo>
                  <a:pt x="1" y="523515"/>
                </a:lnTo>
                <a:lnTo>
                  <a:pt x="1" y="533909"/>
                </a:lnTo>
                <a:lnTo>
                  <a:pt x="1" y="543706"/>
                </a:lnTo>
                <a:lnTo>
                  <a:pt x="1" y="549050"/>
                </a:lnTo>
                <a:lnTo>
                  <a:pt x="1" y="554100"/>
                </a:lnTo>
                <a:lnTo>
                  <a:pt x="1" y="559443"/>
                </a:lnTo>
                <a:lnTo>
                  <a:pt x="1" y="567248"/>
                </a:lnTo>
                <a:lnTo>
                  <a:pt x="1" y="587439"/>
                </a:lnTo>
                <a:lnTo>
                  <a:pt x="1" y="592783"/>
                </a:lnTo>
                <a:lnTo>
                  <a:pt x="1" y="612414"/>
                </a:lnTo>
                <a:lnTo>
                  <a:pt x="1" y="632604"/>
                </a:lnTo>
                <a:lnTo>
                  <a:pt x="1" y="637948"/>
                </a:lnTo>
                <a:lnTo>
                  <a:pt x="1" y="656147"/>
                </a:lnTo>
                <a:lnTo>
                  <a:pt x="1" y="676337"/>
                </a:lnTo>
                <a:lnTo>
                  <a:pt x="1" y="681681"/>
                </a:lnTo>
                <a:lnTo>
                  <a:pt x="1" y="744823"/>
                </a:lnTo>
                <a:lnTo>
                  <a:pt x="1" y="744923"/>
                </a:lnTo>
                <a:lnTo>
                  <a:pt x="1" y="788556"/>
                </a:lnTo>
                <a:lnTo>
                  <a:pt x="1" y="788656"/>
                </a:lnTo>
                <a:lnTo>
                  <a:pt x="1" y="806425"/>
                </a:lnTo>
                <a:lnTo>
                  <a:pt x="1" y="826616"/>
                </a:lnTo>
                <a:lnTo>
                  <a:pt x="1" y="833721"/>
                </a:lnTo>
                <a:lnTo>
                  <a:pt x="1" y="833821"/>
                </a:lnTo>
                <a:lnTo>
                  <a:pt x="1" y="850158"/>
                </a:lnTo>
                <a:lnTo>
                  <a:pt x="1" y="867061"/>
                </a:lnTo>
                <a:lnTo>
                  <a:pt x="1" y="867160"/>
                </a:lnTo>
                <a:lnTo>
                  <a:pt x="1" y="870349"/>
                </a:lnTo>
                <a:lnTo>
                  <a:pt x="1" y="877454"/>
                </a:lnTo>
                <a:lnTo>
                  <a:pt x="1" y="877554"/>
                </a:lnTo>
                <a:lnTo>
                  <a:pt x="1" y="895324"/>
                </a:lnTo>
                <a:lnTo>
                  <a:pt x="1" y="910794"/>
                </a:lnTo>
                <a:lnTo>
                  <a:pt x="1" y="910893"/>
                </a:lnTo>
                <a:lnTo>
                  <a:pt x="1" y="915514"/>
                </a:lnTo>
                <a:lnTo>
                  <a:pt x="1" y="928663"/>
                </a:lnTo>
                <a:lnTo>
                  <a:pt x="1" y="939057"/>
                </a:lnTo>
                <a:lnTo>
                  <a:pt x="1" y="948854"/>
                </a:lnTo>
                <a:lnTo>
                  <a:pt x="1" y="955959"/>
                </a:lnTo>
                <a:lnTo>
                  <a:pt x="1" y="956059"/>
                </a:lnTo>
                <a:lnTo>
                  <a:pt x="1" y="959247"/>
                </a:lnTo>
                <a:lnTo>
                  <a:pt x="1" y="972396"/>
                </a:lnTo>
                <a:lnTo>
                  <a:pt x="1" y="992587"/>
                </a:lnTo>
                <a:lnTo>
                  <a:pt x="1" y="999692"/>
                </a:lnTo>
                <a:lnTo>
                  <a:pt x="1" y="999792"/>
                </a:lnTo>
                <a:lnTo>
                  <a:pt x="1" y="1017561"/>
                </a:lnTo>
                <a:lnTo>
                  <a:pt x="1" y="1037752"/>
                </a:lnTo>
                <a:lnTo>
                  <a:pt x="1" y="1061294"/>
                </a:lnTo>
                <a:lnTo>
                  <a:pt x="1" y="1081485"/>
                </a:lnTo>
                <a:lnTo>
                  <a:pt x="661991" y="1010042"/>
                </a:lnTo>
                <a:lnTo>
                  <a:pt x="661991" y="999792"/>
                </a:lnTo>
                <a:lnTo>
                  <a:pt x="661991" y="999692"/>
                </a:lnTo>
                <a:lnTo>
                  <a:pt x="661991" y="989851"/>
                </a:lnTo>
                <a:lnTo>
                  <a:pt x="661991" y="976580"/>
                </a:lnTo>
                <a:lnTo>
                  <a:pt x="661991" y="966309"/>
                </a:lnTo>
                <a:lnTo>
                  <a:pt x="661991" y="956059"/>
                </a:lnTo>
                <a:lnTo>
                  <a:pt x="661991" y="955959"/>
                </a:lnTo>
                <a:lnTo>
                  <a:pt x="661991" y="946118"/>
                </a:lnTo>
                <a:lnTo>
                  <a:pt x="661991" y="932847"/>
                </a:lnTo>
                <a:lnTo>
                  <a:pt x="661991" y="921144"/>
                </a:lnTo>
                <a:lnTo>
                  <a:pt x="661991" y="915078"/>
                </a:lnTo>
                <a:lnTo>
                  <a:pt x="661991" y="910893"/>
                </a:lnTo>
                <a:lnTo>
                  <a:pt x="661991" y="910794"/>
                </a:lnTo>
                <a:lnTo>
                  <a:pt x="661991" y="900953"/>
                </a:lnTo>
                <a:lnTo>
                  <a:pt x="661991" y="894886"/>
                </a:lnTo>
                <a:lnTo>
                  <a:pt x="661991" y="887805"/>
                </a:lnTo>
                <a:lnTo>
                  <a:pt x="661991" y="887681"/>
                </a:lnTo>
                <a:lnTo>
                  <a:pt x="661991" y="877554"/>
                </a:lnTo>
                <a:lnTo>
                  <a:pt x="661991" y="877454"/>
                </a:lnTo>
                <a:lnTo>
                  <a:pt x="661991" y="877411"/>
                </a:lnTo>
                <a:lnTo>
                  <a:pt x="661991" y="871345"/>
                </a:lnTo>
                <a:lnTo>
                  <a:pt x="661991" y="867613"/>
                </a:lnTo>
                <a:lnTo>
                  <a:pt x="661991" y="867160"/>
                </a:lnTo>
                <a:lnTo>
                  <a:pt x="661991" y="867061"/>
                </a:lnTo>
                <a:lnTo>
                  <a:pt x="661991" y="857220"/>
                </a:lnTo>
                <a:lnTo>
                  <a:pt x="661991" y="854342"/>
                </a:lnTo>
                <a:lnTo>
                  <a:pt x="661991" y="851153"/>
                </a:lnTo>
                <a:lnTo>
                  <a:pt x="661991" y="844072"/>
                </a:lnTo>
                <a:lnTo>
                  <a:pt x="661991" y="843948"/>
                </a:lnTo>
                <a:lnTo>
                  <a:pt x="661991" y="833821"/>
                </a:lnTo>
                <a:lnTo>
                  <a:pt x="661991" y="833721"/>
                </a:lnTo>
                <a:lnTo>
                  <a:pt x="661991" y="826180"/>
                </a:lnTo>
                <a:lnTo>
                  <a:pt x="661991" y="823880"/>
                </a:lnTo>
                <a:lnTo>
                  <a:pt x="661991" y="810609"/>
                </a:lnTo>
                <a:lnTo>
                  <a:pt x="661991" y="805988"/>
                </a:lnTo>
                <a:lnTo>
                  <a:pt x="661991" y="798906"/>
                </a:lnTo>
                <a:lnTo>
                  <a:pt x="661991" y="792840"/>
                </a:lnTo>
                <a:lnTo>
                  <a:pt x="661991" y="788656"/>
                </a:lnTo>
                <a:lnTo>
                  <a:pt x="661991" y="788556"/>
                </a:lnTo>
                <a:lnTo>
                  <a:pt x="661991" y="782447"/>
                </a:lnTo>
                <a:lnTo>
                  <a:pt x="661991" y="778715"/>
                </a:lnTo>
                <a:lnTo>
                  <a:pt x="661991" y="772649"/>
                </a:lnTo>
                <a:lnTo>
                  <a:pt x="661991" y="765444"/>
                </a:lnTo>
                <a:lnTo>
                  <a:pt x="661991" y="762255"/>
                </a:lnTo>
                <a:lnTo>
                  <a:pt x="661991" y="755173"/>
                </a:lnTo>
                <a:lnTo>
                  <a:pt x="661991" y="749107"/>
                </a:lnTo>
                <a:lnTo>
                  <a:pt x="661991" y="744923"/>
                </a:lnTo>
                <a:lnTo>
                  <a:pt x="661991" y="744823"/>
                </a:lnTo>
                <a:lnTo>
                  <a:pt x="661991" y="734982"/>
                </a:lnTo>
                <a:lnTo>
                  <a:pt x="661991" y="728916"/>
                </a:lnTo>
                <a:lnTo>
                  <a:pt x="661991" y="721711"/>
                </a:lnTo>
                <a:lnTo>
                  <a:pt x="661991" y="703942"/>
                </a:lnTo>
                <a:lnTo>
                  <a:pt x="661991" y="689608"/>
                </a:lnTo>
                <a:lnTo>
                  <a:pt x="661991" y="683750"/>
                </a:lnTo>
                <a:lnTo>
                  <a:pt x="661991" y="681681"/>
                </a:lnTo>
                <a:lnTo>
                  <a:pt x="661991" y="660209"/>
                </a:lnTo>
                <a:lnTo>
                  <a:pt x="661991" y="645875"/>
                </a:lnTo>
                <a:lnTo>
                  <a:pt x="661991" y="640017"/>
                </a:lnTo>
                <a:lnTo>
                  <a:pt x="661991" y="637948"/>
                </a:lnTo>
                <a:lnTo>
                  <a:pt x="661991" y="604895"/>
                </a:lnTo>
                <a:lnTo>
                  <a:pt x="661991" y="600710"/>
                </a:lnTo>
                <a:lnTo>
                  <a:pt x="661991" y="592783"/>
                </a:lnTo>
                <a:lnTo>
                  <a:pt x="661991" y="584703"/>
                </a:lnTo>
                <a:lnTo>
                  <a:pt x="661991" y="567371"/>
                </a:lnTo>
                <a:lnTo>
                  <a:pt x="661991" y="561162"/>
                </a:lnTo>
                <a:lnTo>
                  <a:pt x="661991" y="559443"/>
                </a:lnTo>
                <a:lnTo>
                  <a:pt x="661991" y="556977"/>
                </a:lnTo>
                <a:lnTo>
                  <a:pt x="661991" y="549050"/>
                </a:lnTo>
                <a:lnTo>
                  <a:pt x="661991" y="540970"/>
                </a:lnTo>
                <a:lnTo>
                  <a:pt x="661991" y="523638"/>
                </a:lnTo>
                <a:lnTo>
                  <a:pt x="661991" y="515996"/>
                </a:lnTo>
                <a:lnTo>
                  <a:pt x="661991" y="515710"/>
                </a:lnTo>
                <a:lnTo>
                  <a:pt x="661991" y="495805"/>
                </a:lnTo>
                <a:lnTo>
                  <a:pt x="661991" y="482657"/>
                </a:lnTo>
                <a:lnTo>
                  <a:pt x="661991" y="478472"/>
                </a:lnTo>
                <a:lnTo>
                  <a:pt x="661991" y="472263"/>
                </a:lnTo>
                <a:lnTo>
                  <a:pt x="661991" y="470545"/>
                </a:lnTo>
                <a:lnTo>
                  <a:pt x="661991" y="462465"/>
                </a:lnTo>
                <a:lnTo>
                  <a:pt x="661991" y="452072"/>
                </a:lnTo>
                <a:lnTo>
                  <a:pt x="661991" y="438924"/>
                </a:lnTo>
                <a:lnTo>
                  <a:pt x="661991" y="434739"/>
                </a:lnTo>
                <a:lnTo>
                  <a:pt x="661991" y="426812"/>
                </a:lnTo>
                <a:lnTo>
                  <a:pt x="661991" y="418732"/>
                </a:lnTo>
                <a:lnTo>
                  <a:pt x="661991" y="393759"/>
                </a:lnTo>
                <a:lnTo>
                  <a:pt x="661991" y="373567"/>
                </a:lnTo>
                <a:lnTo>
                  <a:pt x="661991" y="35002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 bIns="1584000" anchor="b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E9CC2C3-73C3-41F8-A9F3-4DFF1E4B52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4061" y="3092783"/>
            <a:ext cx="9743879" cy="677108"/>
          </a:xfrm>
        </p:spPr>
        <p:txBody>
          <a:bodyPr anchor="ctr">
            <a:spAutoFit/>
          </a:bodyPr>
          <a:lstStyle>
            <a:lvl1pPr marL="0" indent="0" algn="ctr">
              <a:spcAft>
                <a:spcPts val="0"/>
              </a:spcAft>
              <a:buNone/>
              <a:defRPr sz="4400" b="1" kern="600" spc="40" baseline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FD461ADA-45A7-4378-B5B9-54CE9BF89A9C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6" name="Freeform 40">
              <a:extLst>
                <a:ext uri="{FF2B5EF4-FFF2-40B4-BE49-F238E27FC236}">
                  <a16:creationId xmlns:a16="http://schemas.microsoft.com/office/drawing/2014/main" id="{1AA0CEEF-19FF-43A0-8966-6DB91FA5A5B2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Freeform 41">
              <a:extLst>
                <a:ext uri="{FF2B5EF4-FFF2-40B4-BE49-F238E27FC236}">
                  <a16:creationId xmlns:a16="http://schemas.microsoft.com/office/drawing/2014/main" id="{2D34465F-A7E6-49C4-A2DD-CFD03E807F00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74418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folie // Bilplatzhalter mit Text (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662DB07-81B8-4BDA-8345-7D0D9D3C5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098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662DB07-81B8-4BDA-8345-7D0D9D3C5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E2CD7A7C-6BED-4042-88C8-8ACEEFC464C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742301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223370 h 6858000"/>
              <a:gd name="connsiteX3" fmla="*/ 5621103 w 12192000"/>
              <a:gd name="connsiteY3" fmla="*/ 6858000 h 6858000"/>
              <a:gd name="connsiteX4" fmla="*/ 0 w 12192000"/>
              <a:gd name="connsiteY4" fmla="*/ 6858000 h 6858000"/>
              <a:gd name="connsiteX5" fmla="*/ 0 w 12192000"/>
              <a:gd name="connsiteY5" fmla="*/ 1081483 h 6858000"/>
              <a:gd name="connsiteX6" fmla="*/ 1 w 12192000"/>
              <a:gd name="connsiteY6" fmla="*/ 1081483 h 6858000"/>
              <a:gd name="connsiteX7" fmla="*/ 1 w 12192000"/>
              <a:gd name="connsiteY7" fmla="*/ 1081485 h 6858000"/>
              <a:gd name="connsiteX8" fmla="*/ 354 w 12192000"/>
              <a:gd name="connsiteY8" fmla="*/ 108144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10742301" y="0"/>
                </a:moveTo>
                <a:lnTo>
                  <a:pt x="12192000" y="0"/>
                </a:lnTo>
                <a:lnTo>
                  <a:pt x="12192000" y="6223370"/>
                </a:lnTo>
                <a:lnTo>
                  <a:pt x="5621103" y="6858000"/>
                </a:lnTo>
                <a:lnTo>
                  <a:pt x="0" y="6858000"/>
                </a:lnTo>
                <a:lnTo>
                  <a:pt x="0" y="1081483"/>
                </a:lnTo>
                <a:lnTo>
                  <a:pt x="1" y="1081483"/>
                </a:lnTo>
                <a:lnTo>
                  <a:pt x="1" y="1081485"/>
                </a:lnTo>
                <a:lnTo>
                  <a:pt x="354" y="1081447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 bIns="1584000" anchor="b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E9CC2C3-73C3-41F8-A9F3-4DFF1E4B52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4061" y="3092783"/>
            <a:ext cx="9743879" cy="677108"/>
          </a:xfrm>
        </p:spPr>
        <p:txBody>
          <a:bodyPr anchor="ctr">
            <a:spAutoFit/>
          </a:bodyPr>
          <a:lstStyle>
            <a:lvl1pPr marL="0" indent="0" algn="ctr">
              <a:spcAft>
                <a:spcPts val="0"/>
              </a:spcAft>
              <a:buNone/>
              <a:defRPr sz="4400" b="1" kern="600" spc="40" baseline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5" name="Freihandform: Form 27">
            <a:extLst>
              <a:ext uri="{FF2B5EF4-FFF2-40B4-BE49-F238E27FC236}">
                <a16:creationId xmlns:a16="http://schemas.microsoft.com/office/drawing/2014/main" id="{0C357E27-A970-4422-8105-7EAD4D7908AF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6" name="Freihandform: Form 7">
            <a:extLst>
              <a:ext uri="{FF2B5EF4-FFF2-40B4-BE49-F238E27FC236}">
                <a16:creationId xmlns:a16="http://schemas.microsoft.com/office/drawing/2014/main" id="{7957DB2B-F4FD-4807-890C-1D5FB9FEA0BE}"/>
              </a:ext>
            </a:extLst>
          </p:cNvPr>
          <p:cNvSpPr/>
          <p:nvPr userDrawn="1"/>
        </p:nvSpPr>
        <p:spPr>
          <a:xfrm>
            <a:off x="5621103" y="6223370"/>
            <a:ext cx="6570897" cy="634630"/>
          </a:xfrm>
          <a:custGeom>
            <a:avLst/>
            <a:gdLst>
              <a:gd name="connsiteX0" fmla="*/ 6570897 w 6570897"/>
              <a:gd name="connsiteY0" fmla="*/ 0 h 634630"/>
              <a:gd name="connsiteX1" fmla="*/ 6570897 w 6570897"/>
              <a:gd name="connsiteY1" fmla="*/ 634630 h 634630"/>
              <a:gd name="connsiteX2" fmla="*/ 0 w 6570897"/>
              <a:gd name="connsiteY2" fmla="*/ 634630 h 634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70897" h="634630">
                <a:moveTo>
                  <a:pt x="6570897" y="0"/>
                </a:moveTo>
                <a:lnTo>
                  <a:pt x="6570897" y="634630"/>
                </a:lnTo>
                <a:lnTo>
                  <a:pt x="0" y="634630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 algn="l">
              <a:spcAft>
                <a:spcPts val="1200"/>
              </a:spcAft>
            </a:pPr>
            <a:endParaRPr lang="de-DE" sz="1400" kern="600" spc="0" baseline="0" dirty="0"/>
          </a:p>
        </p:txBody>
      </p:sp>
      <p:grpSp>
        <p:nvGrpSpPr>
          <p:cNvPr id="7" name="Group 13">
            <a:extLst>
              <a:ext uri="{FF2B5EF4-FFF2-40B4-BE49-F238E27FC236}">
                <a16:creationId xmlns:a16="http://schemas.microsoft.com/office/drawing/2014/main" id="{15861EDB-1869-475F-836A-15C14DA44195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8" name="Freeform 40">
              <a:extLst>
                <a:ext uri="{FF2B5EF4-FFF2-40B4-BE49-F238E27FC236}">
                  <a16:creationId xmlns:a16="http://schemas.microsoft.com/office/drawing/2014/main" id="{A0E011BF-9B88-49E3-8AA6-B972D7E9F06B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Freeform 41">
              <a:extLst>
                <a:ext uri="{FF2B5EF4-FFF2-40B4-BE49-F238E27FC236}">
                  <a16:creationId xmlns:a16="http://schemas.microsoft.com/office/drawing/2014/main" id="{C6C2628F-067A-4F9F-AB6D-583DE89C8BE1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4801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Nur TItel 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9092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8B7D36-4FC7-458A-91CB-590EC0375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9" name="Freeform 18">
            <a:extLst>
              <a:ext uri="{FF2B5EF4-FFF2-40B4-BE49-F238E27FC236}">
                <a16:creationId xmlns:a16="http://schemas.microsoft.com/office/drawing/2014/main" id="{F9BEDD05-536F-F74A-9F35-0ED4CCA9954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6798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2504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 dirty="0"/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196975"/>
            <a:ext cx="10658475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0" name="Freeform 18">
            <a:extLst>
              <a:ext uri="{FF2B5EF4-FFF2-40B4-BE49-F238E27FC236}">
                <a16:creationId xmlns:a16="http://schemas.microsoft.com/office/drawing/2014/main" id="{05FA0CE4-5D53-C84B-8B20-1E42F54E1EC2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8C5DB09-5C68-4A51-BB61-6A35A5EA54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64528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2 Texten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8820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4209D648-2061-5046-99E8-F0032076507F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46CA8B-55FE-4609-B8B1-366C2FDEA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0333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und Bild (links)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5980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A6C50B6-EE9C-4EAD-9302-1089F6C937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66763" y="1196974"/>
            <a:ext cx="5149849" cy="5256213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634F4E53-68FE-5B4B-AFEA-A9D856AB7EE4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382014B-9E10-4003-A8A5-0A7AE084A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3013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Nur TItel 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6179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Freihandform: Form 36">
            <a:extLst>
              <a:ext uri="{FF2B5EF4-FFF2-40B4-BE49-F238E27FC236}">
                <a16:creationId xmlns:a16="http://schemas.microsoft.com/office/drawing/2014/main" id="{A7F06665-152A-4CED-B3D8-729B25AB76E1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0" name="Freihandform: Form 21">
            <a:extLst>
              <a:ext uri="{FF2B5EF4-FFF2-40B4-BE49-F238E27FC236}">
                <a16:creationId xmlns:a16="http://schemas.microsoft.com/office/drawing/2014/main" id="{4BA9D35E-1141-428C-9F79-E0BDCB6AA114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7B349B1B-53F0-B14F-9FF7-28103A8A48C0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AF1B2C0-D18A-47DE-998E-0E5C6DB85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1169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6385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ihandform: Form 36">
            <a:extLst>
              <a:ext uri="{FF2B5EF4-FFF2-40B4-BE49-F238E27FC236}">
                <a16:creationId xmlns:a16="http://schemas.microsoft.com/office/drawing/2014/main" id="{12AB1E37-61EF-4B21-87C8-62D9A96380FA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1" name="Freihandform: Form 21">
            <a:extLst>
              <a:ext uri="{FF2B5EF4-FFF2-40B4-BE49-F238E27FC236}">
                <a16:creationId xmlns:a16="http://schemas.microsoft.com/office/drawing/2014/main" id="{AB9A4A69-642E-4B6F-BC03-A66E21D39775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196975"/>
            <a:ext cx="10658475" cy="41006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BA3FB8F9-523F-3F49-BA47-CE86CA467970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16F4FFE-663F-4DB8-AC2E-A5EDBB1291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6418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links // Bild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7258EA99-7DAC-3E40-9C09-6999BF263A6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22241" y="0"/>
            <a:ext cx="6969759" cy="6858000"/>
          </a:xfrm>
          <a:custGeom>
            <a:avLst/>
            <a:gdLst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706883 w 6969759"/>
              <a:gd name="connsiteY4" fmla="*/ 1 h 6858000"/>
              <a:gd name="connsiteX5" fmla="*/ 833898 w 6969759"/>
              <a:gd name="connsiteY5" fmla="*/ 1 h 6858000"/>
              <a:gd name="connsiteX6" fmla="*/ 833897 w 6969759"/>
              <a:gd name="connsiteY6" fmla="*/ 4 h 6858000"/>
              <a:gd name="connsiteX7" fmla="*/ 0 w 6969759"/>
              <a:gd name="connsiteY7" fmla="*/ 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69759" h="6858000">
                <a:moveTo>
                  <a:pt x="0" y="0"/>
                </a:moveTo>
                <a:lnTo>
                  <a:pt x="6969759" y="0"/>
                </a:lnTo>
                <a:lnTo>
                  <a:pt x="6969759" y="6858000"/>
                </a:lnTo>
                <a:lnTo>
                  <a:pt x="508945" y="6858000"/>
                </a:lnTo>
                <a:lnTo>
                  <a:pt x="3706883" y="1"/>
                </a:lnTo>
                <a:lnTo>
                  <a:pt x="833898" y="1"/>
                </a:lnTo>
                <a:lnTo>
                  <a:pt x="833897" y="4"/>
                </a:ln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2581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Freihandform: Form 23">
            <a:extLst>
              <a:ext uri="{FF2B5EF4-FFF2-40B4-BE49-F238E27FC236}">
                <a16:creationId xmlns:a16="http://schemas.microsoft.com/office/drawing/2014/main" id="{D17C017F-76C8-4520-8E7D-038F187A2379}"/>
              </a:ext>
            </a:extLst>
          </p:cNvPr>
          <p:cNvSpPr/>
          <p:nvPr userDrawn="1"/>
        </p:nvSpPr>
        <p:spPr>
          <a:xfrm rot="5400000" flipH="1">
            <a:off x="1035562" y="-1035561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277EBB7D-F249-4E77-9B9C-BD9DBD49E7EB}"/>
              </a:ext>
            </a:extLst>
          </p:cNvPr>
          <p:cNvSpPr/>
          <p:nvPr userDrawn="1"/>
        </p:nvSpPr>
        <p:spPr>
          <a:xfrm>
            <a:off x="23446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6050183" cy="984885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2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652838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91C20983-4BB4-481B-8202-F63F178E34B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73" y="5869536"/>
            <a:ext cx="3175725" cy="53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281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F26B43"/>
          </p15:clr>
        </p15:guide>
        <p15:guide id="2" pos="483" userDrawn="1">
          <p15:clr>
            <a:srgbClr val="A4A3A4"/>
          </p15:clr>
        </p15:guide>
        <p15:guide id="3" orient="horz" pos="754" userDrawn="1">
          <p15:clr>
            <a:srgbClr val="A4A3A4"/>
          </p15:clr>
        </p15:guide>
        <p15:guide id="4" orient="horz" pos="640" userDrawn="1">
          <p15:clr>
            <a:srgbClr val="A4A3A4"/>
          </p15:clr>
        </p15:guide>
        <p15:guide id="5" orient="horz" pos="21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2 Texten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0639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6"/>
            <a:ext cx="5149850" cy="410064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6"/>
            <a:ext cx="5149850" cy="41006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96E79C0D-9CB3-5241-8E38-AA450520B8C8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D5EEE30-6705-44A0-891F-536BF776F2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298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33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und Bild (links)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2206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6"/>
            <a:ext cx="5149850" cy="410064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1E1B4485-1F72-42D7-ACC3-9EDC24543BB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66763" y="1196974"/>
            <a:ext cx="5149849" cy="4965818"/>
          </a:xfrm>
          <a:custGeom>
            <a:avLst/>
            <a:gdLst>
              <a:gd name="connsiteX0" fmla="*/ 0 w 5149849"/>
              <a:gd name="connsiteY0" fmla="*/ 0 h 4965818"/>
              <a:gd name="connsiteX1" fmla="*/ 5149849 w 5149849"/>
              <a:gd name="connsiteY1" fmla="*/ 0 h 4965818"/>
              <a:gd name="connsiteX2" fmla="*/ 5149849 w 5149849"/>
              <a:gd name="connsiteY2" fmla="*/ 4468436 h 4965818"/>
              <a:gd name="connsiteX3" fmla="*/ 0 w 5149849"/>
              <a:gd name="connsiteY3" fmla="*/ 4965818 h 4965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9849" h="4965818">
                <a:moveTo>
                  <a:pt x="0" y="0"/>
                </a:moveTo>
                <a:lnTo>
                  <a:pt x="5149849" y="0"/>
                </a:lnTo>
                <a:lnTo>
                  <a:pt x="5149849" y="4468436"/>
                </a:lnTo>
                <a:lnTo>
                  <a:pt x="0" y="496581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C13D84C5-27C9-8244-AE4C-B1FF9BA7BDD8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4D003A0-D044-4DCD-B55E-66422C600D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5804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566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und Bild (rechts)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028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7CB5D3-8679-4C40-98D0-C4A69CB342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6"/>
            <a:ext cx="5149850" cy="44640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1D8CB5B5-C1E3-4EDF-9F8A-AF64BDF3632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75389" y="1196975"/>
            <a:ext cx="5149849" cy="4439485"/>
          </a:xfrm>
          <a:custGeom>
            <a:avLst/>
            <a:gdLst>
              <a:gd name="connsiteX0" fmla="*/ 0 w 5149849"/>
              <a:gd name="connsiteY0" fmla="*/ 0 h 4439485"/>
              <a:gd name="connsiteX1" fmla="*/ 5149849 w 5149849"/>
              <a:gd name="connsiteY1" fmla="*/ 0 h 4439485"/>
              <a:gd name="connsiteX2" fmla="*/ 5149849 w 5149849"/>
              <a:gd name="connsiteY2" fmla="*/ 3942103 h 4439485"/>
              <a:gd name="connsiteX3" fmla="*/ 0 w 5149849"/>
              <a:gd name="connsiteY3" fmla="*/ 4439485 h 4439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9849" h="4439485">
                <a:moveTo>
                  <a:pt x="0" y="0"/>
                </a:moveTo>
                <a:lnTo>
                  <a:pt x="5149849" y="0"/>
                </a:lnTo>
                <a:lnTo>
                  <a:pt x="5149849" y="3942103"/>
                </a:lnTo>
                <a:lnTo>
                  <a:pt x="0" y="443948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F5D9D0D2-7EDA-4947-AB3D-52786C15FACA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BB85738-5B86-46A3-A123-248D01111F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91691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58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und Bild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8152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1D09B2C-D8C1-41B9-BF6B-D36D9023B68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196976"/>
            <a:ext cx="10658475" cy="35488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19927C1F-62FD-0A46-8A61-573819706D54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5AF321D-0B4D-4551-BEC7-9EEC195A0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3653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Nur TItel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0047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9" name="Freeform 18">
            <a:extLst>
              <a:ext uri="{FF2B5EF4-FFF2-40B4-BE49-F238E27FC236}">
                <a16:creationId xmlns:a16="http://schemas.microsoft.com/office/drawing/2014/main" id="{8BE06C8C-7049-2545-905A-C16E8F707408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DF9595B-11B3-4259-84E9-EA0F02B6A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59561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Titel mit Text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616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196975"/>
            <a:ext cx="10658475" cy="5256213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Freeform 18">
            <a:extLst>
              <a:ext uri="{FF2B5EF4-FFF2-40B4-BE49-F238E27FC236}">
                <a16:creationId xmlns:a16="http://schemas.microsoft.com/office/drawing/2014/main" id="{6580AE2E-E7A4-8147-9D10-46D4FED9C736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D37B052-2223-4CD4-B48D-85AE3175C6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47261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Titel mit 2 Texten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1498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95936665-1D34-4541-BAA1-D13E54A42DF7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4BE0294-C1AD-463F-9932-14FF898FD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33092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Nur TItel 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2515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9" name="Freihandform: Form 36">
            <a:extLst>
              <a:ext uri="{FF2B5EF4-FFF2-40B4-BE49-F238E27FC236}">
                <a16:creationId xmlns:a16="http://schemas.microsoft.com/office/drawing/2014/main" id="{A7F06665-152A-4CED-B3D8-729B25AB76E1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0" name="Freihandform: Form 21">
            <a:extLst>
              <a:ext uri="{FF2B5EF4-FFF2-40B4-BE49-F238E27FC236}">
                <a16:creationId xmlns:a16="http://schemas.microsoft.com/office/drawing/2014/main" id="{4BA9D35E-1141-428C-9F79-E0BDCB6AA114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FF28E917-7CDB-B047-85A6-D68875D6D2BB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5D3F80B-02F8-465D-BCDE-DF5E4A68D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1584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Titel mit Text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4943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Freihandform: Form 36">
            <a:extLst>
              <a:ext uri="{FF2B5EF4-FFF2-40B4-BE49-F238E27FC236}">
                <a16:creationId xmlns:a16="http://schemas.microsoft.com/office/drawing/2014/main" id="{12AB1E37-61EF-4B21-87C8-62D9A96380FA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1" name="Freihandform: Form 21">
            <a:extLst>
              <a:ext uri="{FF2B5EF4-FFF2-40B4-BE49-F238E27FC236}">
                <a16:creationId xmlns:a16="http://schemas.microsoft.com/office/drawing/2014/main" id="{AB9A4A69-642E-4B6F-BC03-A66E21D39775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196976"/>
            <a:ext cx="10658475" cy="4100650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A9207D9E-A8D2-D441-8F1A-99EA8AC89D59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A46B979-61EF-4DDE-850D-A9C522E48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60312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Titel mit 2 Texten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195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5"/>
            <a:ext cx="5149850" cy="410033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6"/>
            <a:ext cx="5149850" cy="41006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9EBD5B88-9E28-0843-BBBC-03C3B8F7928B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B3124B4-073E-4AA4-A8AF-077A24B5A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0306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33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links // Bild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7112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ADA371A-43BB-4A0E-AC24-3821A653AD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06475" y="-1"/>
            <a:ext cx="8189789" cy="6858001"/>
          </a:xfrm>
          <a:prstGeom prst="rect">
            <a:avLst/>
          </a:prstGeom>
        </p:spPr>
      </p:pic>
      <p:sp>
        <p:nvSpPr>
          <p:cNvPr id="6" name="Freihandform: Form 23">
            <a:extLst>
              <a:ext uri="{FF2B5EF4-FFF2-40B4-BE49-F238E27FC236}">
                <a16:creationId xmlns:a16="http://schemas.microsoft.com/office/drawing/2014/main" id="{D17C017F-76C8-4520-8E7D-038F187A2379}"/>
              </a:ext>
            </a:extLst>
          </p:cNvPr>
          <p:cNvSpPr/>
          <p:nvPr userDrawn="1"/>
        </p:nvSpPr>
        <p:spPr>
          <a:xfrm rot="5400000" flipH="1">
            <a:off x="1035562" y="-1035561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277EBB7D-F249-4E77-9B9C-BD9DBD49E7EB}"/>
              </a:ext>
            </a:extLst>
          </p:cNvPr>
          <p:cNvSpPr/>
          <p:nvPr userDrawn="1"/>
        </p:nvSpPr>
        <p:spPr>
          <a:xfrm>
            <a:off x="23446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6050183" cy="984885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2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652838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91C20983-4BB4-481B-8202-F63F178E34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73" y="5869536"/>
            <a:ext cx="3175725" cy="53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88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F26B43"/>
          </p15:clr>
        </p15:guide>
        <p15:guide id="2" pos="483" userDrawn="1">
          <p15:clr>
            <a:srgbClr val="A4A3A4"/>
          </p15:clr>
        </p15:guide>
        <p15:guide id="3" orient="horz" pos="754" userDrawn="1">
          <p15:clr>
            <a:srgbClr val="A4A3A4"/>
          </p15:clr>
        </p15:guide>
        <p15:guide id="4" orient="horz" pos="640" userDrawn="1">
          <p15:clr>
            <a:srgbClr val="A4A3A4"/>
          </p15:clr>
        </p15:guide>
        <p15:guide id="5" orient="horz" pos="21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e mit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081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C70416A-78D1-4FAA-9263-419E74D1E3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2"/>
            <a:ext cx="5185237" cy="5234188"/>
          </a:xfrm>
          <a:custGeom>
            <a:avLst/>
            <a:gdLst>
              <a:gd name="connsiteX0" fmla="*/ 0 w 5185237"/>
              <a:gd name="connsiteY0" fmla="*/ 0 h 5234188"/>
              <a:gd name="connsiteX1" fmla="*/ 5185237 w 5185237"/>
              <a:gd name="connsiteY1" fmla="*/ 0 h 5234188"/>
              <a:gd name="connsiteX2" fmla="*/ 5185237 w 5185237"/>
              <a:gd name="connsiteY2" fmla="*/ 4735298 h 5234188"/>
              <a:gd name="connsiteX3" fmla="*/ 2431692 w 5185237"/>
              <a:gd name="connsiteY3" fmla="*/ 5000227 h 5234188"/>
              <a:gd name="connsiteX4" fmla="*/ 0 w 5185237"/>
              <a:gd name="connsiteY4" fmla="*/ 5234188 h 5234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85237" h="5234188">
                <a:moveTo>
                  <a:pt x="0" y="0"/>
                </a:moveTo>
                <a:lnTo>
                  <a:pt x="5185237" y="0"/>
                </a:lnTo>
                <a:lnTo>
                  <a:pt x="5185237" y="4735298"/>
                </a:lnTo>
                <a:lnTo>
                  <a:pt x="2431692" y="5000227"/>
                </a:lnTo>
                <a:lnTo>
                  <a:pt x="0" y="523418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504000" rIns="360000" bIns="504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D38BFF1B-73CF-4984-9F29-2D30CCD703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000" y="335585"/>
            <a:ext cx="5185236" cy="4707587"/>
          </a:xfrm>
          <a:custGeom>
            <a:avLst/>
            <a:gdLst>
              <a:gd name="connsiteX0" fmla="*/ 0 w 5185236"/>
              <a:gd name="connsiteY0" fmla="*/ 0 h 4707587"/>
              <a:gd name="connsiteX1" fmla="*/ 5185236 w 5185236"/>
              <a:gd name="connsiteY1" fmla="*/ 0 h 4707587"/>
              <a:gd name="connsiteX2" fmla="*/ 5185236 w 5185236"/>
              <a:gd name="connsiteY2" fmla="*/ 4208697 h 4707587"/>
              <a:gd name="connsiteX3" fmla="*/ 0 w 5185236"/>
              <a:gd name="connsiteY3" fmla="*/ 4707587 h 4707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5236" h="4707587">
                <a:moveTo>
                  <a:pt x="0" y="0"/>
                </a:moveTo>
                <a:lnTo>
                  <a:pt x="5185236" y="0"/>
                </a:lnTo>
                <a:lnTo>
                  <a:pt x="5185236" y="4208697"/>
                </a:lnTo>
                <a:lnTo>
                  <a:pt x="0" y="470758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504000" rIns="360000" bIns="504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6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26361" y="3558602"/>
            <a:ext cx="2069066" cy="1715020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7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28201" y="4484284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7144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26B43"/>
          </p15:clr>
        </p15:guide>
        <p15:guide id="4" pos="3931" userDrawn="1">
          <p15:clr>
            <a:srgbClr val="F26B43"/>
          </p15:clr>
        </p15:guide>
        <p15:guide id="5" orient="horz" pos="754" userDrawn="1">
          <p15:clr>
            <a:srgbClr val="A4A3A4"/>
          </p15:clr>
        </p15:guide>
        <p15:guide id="6" orient="horz" pos="640" userDrawn="1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e mit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0641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60ED6361-F72E-4082-BD9A-CC3E00274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70195F57-E2B4-4C17-921E-D0505DD50D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3"/>
            <a:ext cx="3349484" cy="5230829"/>
          </a:xfrm>
          <a:custGeom>
            <a:avLst/>
            <a:gdLst>
              <a:gd name="connsiteX0" fmla="*/ 0 w 3349484"/>
              <a:gd name="connsiteY0" fmla="*/ 0 h 5230829"/>
              <a:gd name="connsiteX1" fmla="*/ 3349484 w 3349484"/>
              <a:gd name="connsiteY1" fmla="*/ 0 h 5230829"/>
              <a:gd name="connsiteX2" fmla="*/ 3349484 w 3349484"/>
              <a:gd name="connsiteY2" fmla="*/ 4907329 h 5230829"/>
              <a:gd name="connsiteX3" fmla="*/ 0 w 3349484"/>
              <a:gd name="connsiteY3" fmla="*/ 5230829 h 523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4" h="5230829">
                <a:moveTo>
                  <a:pt x="0" y="0"/>
                </a:moveTo>
                <a:lnTo>
                  <a:pt x="3349484" y="0"/>
                </a:lnTo>
                <a:lnTo>
                  <a:pt x="3349484" y="4907329"/>
                </a:lnTo>
                <a:lnTo>
                  <a:pt x="0" y="523082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42F5AE94-26CB-4B52-9D32-BB3573223A2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335583"/>
            <a:ext cx="3384549" cy="4879564"/>
          </a:xfrm>
          <a:custGeom>
            <a:avLst/>
            <a:gdLst>
              <a:gd name="connsiteX0" fmla="*/ 0 w 3384549"/>
              <a:gd name="connsiteY0" fmla="*/ 0 h 4879564"/>
              <a:gd name="connsiteX1" fmla="*/ 3384549 w 3384549"/>
              <a:gd name="connsiteY1" fmla="*/ 0 h 4879564"/>
              <a:gd name="connsiteX2" fmla="*/ 3384549 w 3384549"/>
              <a:gd name="connsiteY2" fmla="*/ 4552678 h 4879564"/>
              <a:gd name="connsiteX3" fmla="*/ 0 w 3384549"/>
              <a:gd name="connsiteY3" fmla="*/ 4879564 h 4879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4549" h="4879564">
                <a:moveTo>
                  <a:pt x="0" y="0"/>
                </a:moveTo>
                <a:lnTo>
                  <a:pt x="3384549" y="0"/>
                </a:lnTo>
                <a:lnTo>
                  <a:pt x="3384549" y="4552678"/>
                </a:lnTo>
                <a:lnTo>
                  <a:pt x="0" y="48795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6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B081B6C1-45B0-4E79-BBD7-9988F5587DD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75751" y="335583"/>
            <a:ext cx="3349487" cy="4524912"/>
          </a:xfrm>
          <a:custGeom>
            <a:avLst/>
            <a:gdLst>
              <a:gd name="connsiteX0" fmla="*/ 0 w 3349487"/>
              <a:gd name="connsiteY0" fmla="*/ 0 h 4524912"/>
              <a:gd name="connsiteX1" fmla="*/ 3349487 w 3349487"/>
              <a:gd name="connsiteY1" fmla="*/ 0 h 4524912"/>
              <a:gd name="connsiteX2" fmla="*/ 3349487 w 3349487"/>
              <a:gd name="connsiteY2" fmla="*/ 4201413 h 4524912"/>
              <a:gd name="connsiteX3" fmla="*/ 0 w 3349487"/>
              <a:gd name="connsiteY3" fmla="*/ 4524912 h 452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7" h="4524912">
                <a:moveTo>
                  <a:pt x="0" y="0"/>
                </a:moveTo>
                <a:lnTo>
                  <a:pt x="3349487" y="0"/>
                </a:lnTo>
                <a:lnTo>
                  <a:pt x="3349487" y="4201413"/>
                </a:lnTo>
                <a:lnTo>
                  <a:pt x="0" y="452491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FontTx/>
              <a:buBlip>
                <a:blip r:embed="rId7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4501" y="3763964"/>
            <a:ext cx="2069066" cy="1715020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8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3063" y="4715053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9381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06" userDrawn="1">
          <p15:clr>
            <a:srgbClr val="F26B43"/>
          </p15:clr>
        </p15:guide>
        <p15:guide id="2" pos="2593" userDrawn="1">
          <p15:clr>
            <a:srgbClr val="F26B43"/>
          </p15:clr>
        </p15:guide>
        <p15:guide id="3" pos="2774" userDrawn="1">
          <p15:clr>
            <a:srgbClr val="F26B43"/>
          </p15:clr>
        </p15:guide>
        <p15:guide id="4" pos="5087" userDrawn="1">
          <p15:clr>
            <a:srgbClr val="F26B43"/>
          </p15:clr>
        </p15:guide>
        <p15:guide id="5" orient="horz" pos="754" userDrawn="1">
          <p15:clr>
            <a:srgbClr val="A4A3A4"/>
          </p15:clr>
        </p15:guide>
        <p15:guide id="6" orient="horz" pos="640" userDrawn="1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e mit Bildplatzhalter (unten) /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5025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60ED6361-F72E-4082-BD9A-CC3E00274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70195F57-E2B4-4C17-921E-D0505DD50D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3"/>
            <a:ext cx="3349484" cy="5230829"/>
          </a:xfrm>
          <a:custGeom>
            <a:avLst/>
            <a:gdLst>
              <a:gd name="connsiteX0" fmla="*/ 0 w 3349484"/>
              <a:gd name="connsiteY0" fmla="*/ 0 h 5230829"/>
              <a:gd name="connsiteX1" fmla="*/ 3349484 w 3349484"/>
              <a:gd name="connsiteY1" fmla="*/ 0 h 5230829"/>
              <a:gd name="connsiteX2" fmla="*/ 3349484 w 3349484"/>
              <a:gd name="connsiteY2" fmla="*/ 4907329 h 5230829"/>
              <a:gd name="connsiteX3" fmla="*/ 0 w 3349484"/>
              <a:gd name="connsiteY3" fmla="*/ 5230829 h 523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4" h="5230829">
                <a:moveTo>
                  <a:pt x="0" y="0"/>
                </a:moveTo>
                <a:lnTo>
                  <a:pt x="3349484" y="0"/>
                </a:lnTo>
                <a:lnTo>
                  <a:pt x="3349484" y="4907329"/>
                </a:lnTo>
                <a:lnTo>
                  <a:pt x="0" y="523082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42F5AE94-26CB-4B52-9D32-BB3573223A2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335583"/>
            <a:ext cx="3384549" cy="4879564"/>
          </a:xfrm>
          <a:custGeom>
            <a:avLst/>
            <a:gdLst>
              <a:gd name="connsiteX0" fmla="*/ 0 w 3384549"/>
              <a:gd name="connsiteY0" fmla="*/ 0 h 4879564"/>
              <a:gd name="connsiteX1" fmla="*/ 3384549 w 3384549"/>
              <a:gd name="connsiteY1" fmla="*/ 0 h 4879564"/>
              <a:gd name="connsiteX2" fmla="*/ 3384549 w 3384549"/>
              <a:gd name="connsiteY2" fmla="*/ 4552678 h 4879564"/>
              <a:gd name="connsiteX3" fmla="*/ 0 w 3384549"/>
              <a:gd name="connsiteY3" fmla="*/ 4879564 h 4879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4549" h="4879564">
                <a:moveTo>
                  <a:pt x="0" y="0"/>
                </a:moveTo>
                <a:lnTo>
                  <a:pt x="3384549" y="0"/>
                </a:lnTo>
                <a:lnTo>
                  <a:pt x="3384549" y="4552678"/>
                </a:lnTo>
                <a:lnTo>
                  <a:pt x="0" y="48795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6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4501" y="3763964"/>
            <a:ext cx="2069066" cy="1715020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7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3063" y="4715053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D934306D-3770-2A4E-A9E7-7D0A21B68A9E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3" name="Text Placeholder 55">
            <a:extLst>
              <a:ext uri="{FF2B5EF4-FFF2-40B4-BE49-F238E27FC236}">
                <a16:creationId xmlns:a16="http://schemas.microsoft.com/office/drawing/2014/main" id="{386C06A8-E4A0-47F2-A0F9-69485B85698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75751" y="335583"/>
            <a:ext cx="3349487" cy="4524912"/>
          </a:xfrm>
          <a:custGeom>
            <a:avLst/>
            <a:gdLst>
              <a:gd name="connsiteX0" fmla="*/ 0 w 3349487"/>
              <a:gd name="connsiteY0" fmla="*/ 0 h 4524912"/>
              <a:gd name="connsiteX1" fmla="*/ 3349487 w 3349487"/>
              <a:gd name="connsiteY1" fmla="*/ 0 h 4524912"/>
              <a:gd name="connsiteX2" fmla="*/ 3349487 w 3349487"/>
              <a:gd name="connsiteY2" fmla="*/ 4201413 h 4524912"/>
              <a:gd name="connsiteX3" fmla="*/ 0 w 3349487"/>
              <a:gd name="connsiteY3" fmla="*/ 4524912 h 452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7" h="4524912">
                <a:moveTo>
                  <a:pt x="0" y="0"/>
                </a:moveTo>
                <a:lnTo>
                  <a:pt x="3349487" y="0"/>
                </a:lnTo>
                <a:lnTo>
                  <a:pt x="3349487" y="4201413"/>
                </a:lnTo>
                <a:lnTo>
                  <a:pt x="0" y="452491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8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6544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06" userDrawn="1">
          <p15:clr>
            <a:srgbClr val="F26B43"/>
          </p15:clr>
        </p15:guide>
        <p15:guide id="2" pos="2593" userDrawn="1">
          <p15:clr>
            <a:srgbClr val="F26B43"/>
          </p15:clr>
        </p15:guide>
        <p15:guide id="3" pos="2774" userDrawn="1">
          <p15:clr>
            <a:srgbClr val="F26B43"/>
          </p15:clr>
        </p15:guide>
        <p15:guide id="4" pos="5087" userDrawn="1">
          <p15:clr>
            <a:srgbClr val="F26B43"/>
          </p15:clr>
        </p15:guide>
        <p15:guide id="5" orient="horz" pos="754" userDrawn="1">
          <p15:clr>
            <a:srgbClr val="A4A3A4"/>
          </p15:clr>
        </p15:guide>
        <p15:guide id="6" orient="horz" pos="640" userDrawn="1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6790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60ED6361-F72E-4082-BD9A-CC3E00274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2AC76D0E-2E74-40A1-90B8-A4BCCDCE6C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4"/>
            <a:ext cx="2448618" cy="5234187"/>
          </a:xfrm>
          <a:custGeom>
            <a:avLst/>
            <a:gdLst>
              <a:gd name="connsiteX0" fmla="*/ 0 w 2448618"/>
              <a:gd name="connsiteY0" fmla="*/ 0 h 5234187"/>
              <a:gd name="connsiteX1" fmla="*/ 2448618 w 2448618"/>
              <a:gd name="connsiteY1" fmla="*/ 0 h 5234187"/>
              <a:gd name="connsiteX2" fmla="*/ 2448618 w 2448618"/>
              <a:gd name="connsiteY2" fmla="*/ 4998597 h 5234187"/>
              <a:gd name="connsiteX3" fmla="*/ 0 w 2448618"/>
              <a:gd name="connsiteY3" fmla="*/ 5234187 h 523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5234187">
                <a:moveTo>
                  <a:pt x="0" y="0"/>
                </a:moveTo>
                <a:lnTo>
                  <a:pt x="2448618" y="0"/>
                </a:lnTo>
                <a:lnTo>
                  <a:pt x="2448618" y="4998597"/>
                </a:lnTo>
                <a:lnTo>
                  <a:pt x="0" y="5234187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180000" tIns="360000" rIns="18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699A7C70-A183-4EE4-A764-684D3950B6C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03382" y="335585"/>
            <a:ext cx="2448619" cy="4970887"/>
          </a:xfrm>
          <a:custGeom>
            <a:avLst/>
            <a:gdLst>
              <a:gd name="connsiteX0" fmla="*/ 0 w 2448619"/>
              <a:gd name="connsiteY0" fmla="*/ 0 h 4970887"/>
              <a:gd name="connsiteX1" fmla="*/ 2448619 w 2448619"/>
              <a:gd name="connsiteY1" fmla="*/ 0 h 4970887"/>
              <a:gd name="connsiteX2" fmla="*/ 2448619 w 2448619"/>
              <a:gd name="connsiteY2" fmla="*/ 4735296 h 4970887"/>
              <a:gd name="connsiteX3" fmla="*/ 0 w 2448619"/>
              <a:gd name="connsiteY3" fmla="*/ 4970887 h 4970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9" h="4970887">
                <a:moveTo>
                  <a:pt x="0" y="0"/>
                </a:moveTo>
                <a:lnTo>
                  <a:pt x="2448619" y="0"/>
                </a:lnTo>
                <a:lnTo>
                  <a:pt x="2448619" y="4735296"/>
                </a:lnTo>
                <a:lnTo>
                  <a:pt x="0" y="497088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6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6540" y="3833610"/>
            <a:ext cx="2069066" cy="1715020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7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91582" y="4745837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71A3D910-AF8D-4A10-93AD-2A155C4B53D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0000" y="335585"/>
            <a:ext cx="2448618" cy="4707587"/>
          </a:xfrm>
          <a:custGeom>
            <a:avLst/>
            <a:gdLst>
              <a:gd name="connsiteX0" fmla="*/ 0 w 2448618"/>
              <a:gd name="connsiteY0" fmla="*/ 0 h 4707587"/>
              <a:gd name="connsiteX1" fmla="*/ 2448618 w 2448618"/>
              <a:gd name="connsiteY1" fmla="*/ 0 h 4707587"/>
              <a:gd name="connsiteX2" fmla="*/ 2448618 w 2448618"/>
              <a:gd name="connsiteY2" fmla="*/ 4471997 h 4707587"/>
              <a:gd name="connsiteX3" fmla="*/ 0 w 2448618"/>
              <a:gd name="connsiteY3" fmla="*/ 4707587 h 4707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4707587">
                <a:moveTo>
                  <a:pt x="0" y="0"/>
                </a:moveTo>
                <a:lnTo>
                  <a:pt x="2448618" y="0"/>
                </a:lnTo>
                <a:lnTo>
                  <a:pt x="2448618" y="4471997"/>
                </a:lnTo>
                <a:lnTo>
                  <a:pt x="0" y="470758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8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54B18E07-3099-461D-AABB-46E95D25B0C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976618" y="335583"/>
            <a:ext cx="2448618" cy="4444288"/>
          </a:xfrm>
          <a:custGeom>
            <a:avLst/>
            <a:gdLst>
              <a:gd name="connsiteX0" fmla="*/ 0 w 2448618"/>
              <a:gd name="connsiteY0" fmla="*/ 0 h 4444288"/>
              <a:gd name="connsiteX1" fmla="*/ 2448618 w 2448618"/>
              <a:gd name="connsiteY1" fmla="*/ 0 h 4444288"/>
              <a:gd name="connsiteX2" fmla="*/ 2448618 w 2448618"/>
              <a:gd name="connsiteY2" fmla="*/ 4208698 h 4444288"/>
              <a:gd name="connsiteX3" fmla="*/ 0 w 2448618"/>
              <a:gd name="connsiteY3" fmla="*/ 4444288 h 4444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4444288">
                <a:moveTo>
                  <a:pt x="0" y="0"/>
                </a:moveTo>
                <a:lnTo>
                  <a:pt x="2448618" y="0"/>
                </a:lnTo>
                <a:lnTo>
                  <a:pt x="2448618" y="4208698"/>
                </a:lnTo>
                <a:lnTo>
                  <a:pt x="0" y="4444288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8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5996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26B43"/>
          </p15:clr>
        </p15:guide>
        <p15:guide id="4" pos="3931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  <p15:guide id="7" pos="5654" userDrawn="1">
          <p15:clr>
            <a:srgbClr val="F26B43"/>
          </p15:clr>
        </p15:guide>
        <p15:guide id="8" pos="5473" userDrawn="1">
          <p15:clr>
            <a:srgbClr val="F26B43"/>
          </p15:clr>
        </p15:guide>
        <p15:guide id="9" pos="2207" userDrawn="1">
          <p15:clr>
            <a:srgbClr val="F26B43"/>
          </p15:clr>
        </p15:guide>
        <p15:guide id="10" pos="2026" userDrawn="1">
          <p15:clr>
            <a:srgbClr val="F26B43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2 Texten und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0179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063C7026-C875-4E69-BA5F-F496B8D31A7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Aft>
                <a:spcPts val="1200"/>
              </a:spcAft>
            </a:pPr>
            <a:endParaRPr lang="de-DE" sz="2000" b="0" i="0" kern="600" spc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144BAB1F-8DA3-4C74-9036-E918CD77BD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196976"/>
            <a:ext cx="5185238" cy="4372795"/>
          </a:xfrm>
          <a:custGeom>
            <a:avLst/>
            <a:gdLst>
              <a:gd name="connsiteX0" fmla="*/ 0 w 5185238"/>
              <a:gd name="connsiteY0" fmla="*/ 0 h 4372795"/>
              <a:gd name="connsiteX1" fmla="*/ 5185238 w 5185238"/>
              <a:gd name="connsiteY1" fmla="*/ 0 h 4372795"/>
              <a:gd name="connsiteX2" fmla="*/ 5185238 w 5185238"/>
              <a:gd name="connsiteY2" fmla="*/ 3873905 h 4372795"/>
              <a:gd name="connsiteX3" fmla="*/ 2431692 w 5185238"/>
              <a:gd name="connsiteY3" fmla="*/ 4138834 h 4372795"/>
              <a:gd name="connsiteX4" fmla="*/ 0 w 5185238"/>
              <a:gd name="connsiteY4" fmla="*/ 4372795 h 4372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85238" h="4372795">
                <a:moveTo>
                  <a:pt x="0" y="0"/>
                </a:moveTo>
                <a:lnTo>
                  <a:pt x="5185238" y="0"/>
                </a:lnTo>
                <a:lnTo>
                  <a:pt x="5185238" y="3873905"/>
                </a:lnTo>
                <a:lnTo>
                  <a:pt x="2431692" y="4138834"/>
                </a:lnTo>
                <a:lnTo>
                  <a:pt x="0" y="4372795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DB6ADC81-7D97-467A-B7E6-238D218159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000" y="1196975"/>
            <a:ext cx="5185236" cy="3846197"/>
          </a:xfrm>
          <a:custGeom>
            <a:avLst/>
            <a:gdLst>
              <a:gd name="connsiteX0" fmla="*/ 0 w 5185236"/>
              <a:gd name="connsiteY0" fmla="*/ 0 h 3846197"/>
              <a:gd name="connsiteX1" fmla="*/ 5185236 w 5185236"/>
              <a:gd name="connsiteY1" fmla="*/ 0 h 3846197"/>
              <a:gd name="connsiteX2" fmla="*/ 5185236 w 5185236"/>
              <a:gd name="connsiteY2" fmla="*/ 3347307 h 3846197"/>
              <a:gd name="connsiteX3" fmla="*/ 0 w 5185236"/>
              <a:gd name="connsiteY3" fmla="*/ 3846197 h 3846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5236" h="3846197">
                <a:moveTo>
                  <a:pt x="0" y="0"/>
                </a:moveTo>
                <a:lnTo>
                  <a:pt x="5185236" y="0"/>
                </a:lnTo>
                <a:lnTo>
                  <a:pt x="5185236" y="3347307"/>
                </a:lnTo>
                <a:lnTo>
                  <a:pt x="0" y="384619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26361" y="3558602"/>
            <a:ext cx="2069066" cy="1715020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8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28201" y="4484284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8A9898-6DBB-4A1B-9BF7-F1646A33EEF4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02D993-7EF4-4273-AFC6-CA85D55A1C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5955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4" pos="3931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3 Texten und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0854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8C537BA-F270-492E-9842-0197B8523B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Aft>
                <a:spcPts val="1200"/>
              </a:spcAft>
            </a:pPr>
            <a:endParaRPr lang="de-DE" sz="2000" b="0" i="0" kern="600" spc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8A9898-6DBB-4A1B-9BF7-F1646A33EEF4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D6AB30F3-FA02-447B-B929-87AE828698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1196975"/>
            <a:ext cx="3349484" cy="4369437"/>
          </a:xfrm>
          <a:custGeom>
            <a:avLst/>
            <a:gdLst>
              <a:gd name="connsiteX0" fmla="*/ 0 w 3349484"/>
              <a:gd name="connsiteY0" fmla="*/ 0 h 4369437"/>
              <a:gd name="connsiteX1" fmla="*/ 3349484 w 3349484"/>
              <a:gd name="connsiteY1" fmla="*/ 0 h 4369437"/>
              <a:gd name="connsiteX2" fmla="*/ 3349484 w 3349484"/>
              <a:gd name="connsiteY2" fmla="*/ 4045937 h 4369437"/>
              <a:gd name="connsiteX3" fmla="*/ 0 w 3349484"/>
              <a:gd name="connsiteY3" fmla="*/ 4369437 h 4369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4" h="4369437">
                <a:moveTo>
                  <a:pt x="0" y="0"/>
                </a:moveTo>
                <a:lnTo>
                  <a:pt x="3349484" y="0"/>
                </a:lnTo>
                <a:lnTo>
                  <a:pt x="3349484" y="4045937"/>
                </a:lnTo>
                <a:lnTo>
                  <a:pt x="0" y="4369437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390BCA02-29C1-410D-99F8-06A6E3AC49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6" y="1196975"/>
            <a:ext cx="3384548" cy="4018172"/>
          </a:xfrm>
          <a:custGeom>
            <a:avLst/>
            <a:gdLst>
              <a:gd name="connsiteX0" fmla="*/ 0 w 3384548"/>
              <a:gd name="connsiteY0" fmla="*/ 0 h 4018172"/>
              <a:gd name="connsiteX1" fmla="*/ 3384548 w 3384548"/>
              <a:gd name="connsiteY1" fmla="*/ 0 h 4018172"/>
              <a:gd name="connsiteX2" fmla="*/ 3384548 w 3384548"/>
              <a:gd name="connsiteY2" fmla="*/ 3691286 h 4018172"/>
              <a:gd name="connsiteX3" fmla="*/ 0 w 3384548"/>
              <a:gd name="connsiteY3" fmla="*/ 4018172 h 4018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4548" h="4018172">
                <a:moveTo>
                  <a:pt x="0" y="0"/>
                </a:moveTo>
                <a:lnTo>
                  <a:pt x="3384548" y="0"/>
                </a:lnTo>
                <a:lnTo>
                  <a:pt x="3384548" y="3691286"/>
                </a:lnTo>
                <a:lnTo>
                  <a:pt x="0" y="401817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Text Placeholder 57">
            <a:extLst>
              <a:ext uri="{FF2B5EF4-FFF2-40B4-BE49-F238E27FC236}">
                <a16:creationId xmlns:a16="http://schemas.microsoft.com/office/drawing/2014/main" id="{B2BA0479-354B-4453-9BD9-3B75CA9E75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4501" y="3763964"/>
            <a:ext cx="2069066" cy="1715020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8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21" name="Text Placeholder 61">
            <a:extLst>
              <a:ext uri="{FF2B5EF4-FFF2-40B4-BE49-F238E27FC236}">
                <a16:creationId xmlns:a16="http://schemas.microsoft.com/office/drawing/2014/main" id="{F1711DD1-B6B3-4336-9361-47CF878898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3063" y="4715053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F548BEAD-49B1-4AFC-9311-CB049C5F0EA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75751" y="1196975"/>
            <a:ext cx="3349487" cy="3663520"/>
          </a:xfrm>
          <a:custGeom>
            <a:avLst/>
            <a:gdLst>
              <a:gd name="connsiteX0" fmla="*/ 0 w 3349487"/>
              <a:gd name="connsiteY0" fmla="*/ 0 h 3663520"/>
              <a:gd name="connsiteX1" fmla="*/ 3349487 w 3349487"/>
              <a:gd name="connsiteY1" fmla="*/ 0 h 3663520"/>
              <a:gd name="connsiteX2" fmla="*/ 3349487 w 3349487"/>
              <a:gd name="connsiteY2" fmla="*/ 3340021 h 3663520"/>
              <a:gd name="connsiteX3" fmla="*/ 0 w 3349487"/>
              <a:gd name="connsiteY3" fmla="*/ 3663520 h 366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7" h="3663520">
                <a:moveTo>
                  <a:pt x="0" y="0"/>
                </a:moveTo>
                <a:lnTo>
                  <a:pt x="3349487" y="0"/>
                </a:lnTo>
                <a:lnTo>
                  <a:pt x="3349487" y="3340021"/>
                </a:lnTo>
                <a:lnTo>
                  <a:pt x="0" y="366352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9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4A26B-C22C-4086-8C39-33D2956F5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5804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4" pos="3931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4 Texten und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8979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843A7F5-0182-4E82-AFB1-CC53CC8C17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Aft>
                <a:spcPts val="1200"/>
              </a:spcAft>
            </a:pPr>
            <a:endParaRPr lang="de-DE" sz="2000" b="0" i="0" kern="600" spc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8A9898-6DBB-4A1B-9BF7-F1646A33EEF4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660C2763-BC88-455C-AAAD-7B895AF9C3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1196975"/>
            <a:ext cx="2448618" cy="4372796"/>
          </a:xfrm>
          <a:custGeom>
            <a:avLst/>
            <a:gdLst>
              <a:gd name="connsiteX0" fmla="*/ 0 w 2448618"/>
              <a:gd name="connsiteY0" fmla="*/ 0 h 4372796"/>
              <a:gd name="connsiteX1" fmla="*/ 2448618 w 2448618"/>
              <a:gd name="connsiteY1" fmla="*/ 0 h 4372796"/>
              <a:gd name="connsiteX2" fmla="*/ 2448618 w 2448618"/>
              <a:gd name="connsiteY2" fmla="*/ 4137206 h 4372796"/>
              <a:gd name="connsiteX3" fmla="*/ 0 w 2448618"/>
              <a:gd name="connsiteY3" fmla="*/ 4372796 h 437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4372796">
                <a:moveTo>
                  <a:pt x="0" y="0"/>
                </a:moveTo>
                <a:lnTo>
                  <a:pt x="2448618" y="0"/>
                </a:lnTo>
                <a:lnTo>
                  <a:pt x="2448618" y="4137206"/>
                </a:lnTo>
                <a:lnTo>
                  <a:pt x="0" y="4372796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180000" tIns="360000" rIns="18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A9140D73-F6BF-406C-9D0F-2CFB8641E1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03381" y="1196975"/>
            <a:ext cx="2448620" cy="4109497"/>
          </a:xfrm>
          <a:custGeom>
            <a:avLst/>
            <a:gdLst>
              <a:gd name="connsiteX0" fmla="*/ 0 w 2448620"/>
              <a:gd name="connsiteY0" fmla="*/ 0 h 4109497"/>
              <a:gd name="connsiteX1" fmla="*/ 2448620 w 2448620"/>
              <a:gd name="connsiteY1" fmla="*/ 0 h 4109497"/>
              <a:gd name="connsiteX2" fmla="*/ 2448620 w 2448620"/>
              <a:gd name="connsiteY2" fmla="*/ 3873906 h 4109497"/>
              <a:gd name="connsiteX3" fmla="*/ 0 w 2448620"/>
              <a:gd name="connsiteY3" fmla="*/ 4109497 h 4109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20" h="4109497">
                <a:moveTo>
                  <a:pt x="0" y="0"/>
                </a:moveTo>
                <a:lnTo>
                  <a:pt x="2448620" y="0"/>
                </a:lnTo>
                <a:lnTo>
                  <a:pt x="2448620" y="3873906"/>
                </a:lnTo>
                <a:lnTo>
                  <a:pt x="0" y="410949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Text Placeholder 57">
            <a:extLst>
              <a:ext uri="{FF2B5EF4-FFF2-40B4-BE49-F238E27FC236}">
                <a16:creationId xmlns:a16="http://schemas.microsoft.com/office/drawing/2014/main" id="{586CA799-B057-44C7-99C4-6F70BBC17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6540" y="3833610"/>
            <a:ext cx="2069066" cy="1715020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8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21" name="Text Placeholder 61">
            <a:extLst>
              <a:ext uri="{FF2B5EF4-FFF2-40B4-BE49-F238E27FC236}">
                <a16:creationId xmlns:a16="http://schemas.microsoft.com/office/drawing/2014/main" id="{E262FA7D-EE7C-450D-8F09-CC7E101E4B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91582" y="4745837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C5F7EFC0-BF14-455E-A781-C964300B7AF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0000" y="1196975"/>
            <a:ext cx="2448618" cy="3846197"/>
          </a:xfrm>
          <a:custGeom>
            <a:avLst/>
            <a:gdLst>
              <a:gd name="connsiteX0" fmla="*/ 0 w 2448618"/>
              <a:gd name="connsiteY0" fmla="*/ 0 h 3846197"/>
              <a:gd name="connsiteX1" fmla="*/ 2448618 w 2448618"/>
              <a:gd name="connsiteY1" fmla="*/ 0 h 3846197"/>
              <a:gd name="connsiteX2" fmla="*/ 2448618 w 2448618"/>
              <a:gd name="connsiteY2" fmla="*/ 3610607 h 3846197"/>
              <a:gd name="connsiteX3" fmla="*/ 0 w 2448618"/>
              <a:gd name="connsiteY3" fmla="*/ 3846197 h 3846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3846197">
                <a:moveTo>
                  <a:pt x="0" y="0"/>
                </a:moveTo>
                <a:lnTo>
                  <a:pt x="2448618" y="0"/>
                </a:lnTo>
                <a:lnTo>
                  <a:pt x="2448618" y="3610607"/>
                </a:lnTo>
                <a:lnTo>
                  <a:pt x="0" y="384619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9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BA3D35E0-AEA6-4F9B-BC48-9FA4EB495B4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976618" y="1196975"/>
            <a:ext cx="2448618" cy="3582896"/>
          </a:xfrm>
          <a:custGeom>
            <a:avLst/>
            <a:gdLst>
              <a:gd name="connsiteX0" fmla="*/ 0 w 2448618"/>
              <a:gd name="connsiteY0" fmla="*/ 0 h 3582896"/>
              <a:gd name="connsiteX1" fmla="*/ 2448618 w 2448618"/>
              <a:gd name="connsiteY1" fmla="*/ 0 h 3582896"/>
              <a:gd name="connsiteX2" fmla="*/ 2448618 w 2448618"/>
              <a:gd name="connsiteY2" fmla="*/ 3347306 h 3582896"/>
              <a:gd name="connsiteX3" fmla="*/ 0 w 2448618"/>
              <a:gd name="connsiteY3" fmla="*/ 3582896 h 3582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3582896">
                <a:moveTo>
                  <a:pt x="0" y="0"/>
                </a:moveTo>
                <a:lnTo>
                  <a:pt x="2448618" y="0"/>
                </a:lnTo>
                <a:lnTo>
                  <a:pt x="2448618" y="3347306"/>
                </a:lnTo>
                <a:lnTo>
                  <a:pt x="0" y="3582896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9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665825-B006-4439-895F-85E2862B5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1311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4" pos="3931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 // Titel mit 4 Texten und Bil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8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25D8821-8842-4553-8668-637C54FDB7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1016000"/>
            <a:ext cx="3384550" cy="4133637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21CE8BDA-8958-48E7-8115-79B458038B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226C4E4-A2B3-4F91-ACF4-1386A1141A75}"/>
              </a:ext>
            </a:extLst>
          </p:cNvPr>
          <p:cNvGrpSpPr/>
          <p:nvPr/>
        </p:nvGrpSpPr>
        <p:grpSpPr>
          <a:xfrm>
            <a:off x="0" y="1009784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0" name="Freeform 1">
              <a:extLst>
                <a:ext uri="{FF2B5EF4-FFF2-40B4-BE49-F238E27FC236}">
                  <a16:creationId xmlns:a16="http://schemas.microsoft.com/office/drawing/2014/main" id="{85B15F81-C7C5-4BF1-8B09-16557ED89E46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B52C9D7B-3DEC-4F20-A960-0AB2B7912A0C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9A017E0-97E1-40BF-A118-EF8F27D51FAB}"/>
              </a:ext>
            </a:extLst>
          </p:cNvPr>
          <p:cNvGrpSpPr/>
          <p:nvPr/>
        </p:nvGrpSpPr>
        <p:grpSpPr>
          <a:xfrm>
            <a:off x="0" y="3281931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42A5AD33-28B5-4788-AB7B-7039FE3889C2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B2621DED-4F6C-4FC0-80E4-5B670F3B1177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2EEF72E3-984A-4E1D-B3E5-A8C8F728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016000"/>
            <a:ext cx="3335770" cy="3655357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175DEA8E-1BB4-4543-A778-82112E437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2768" y="1481408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E6C97D9E-74F8-4B39-BB82-1BCFEB4908C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2768" y="3760730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9" name="Text Placeholder 61">
            <a:extLst>
              <a:ext uri="{FF2B5EF4-FFF2-40B4-BE49-F238E27FC236}">
                <a16:creationId xmlns:a16="http://schemas.microsoft.com/office/drawing/2014/main" id="{7E867A1C-F2D3-4594-962F-3D4EDD6E5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4262" y="2738352"/>
            <a:ext cx="1105200" cy="11052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2325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 userDrawn="1">
          <p15:clr>
            <a:srgbClr val="F26B43"/>
          </p15:clr>
        </p15:guide>
        <p15:guide id="2" orient="horz" pos="731" userDrawn="1">
          <p15:clr>
            <a:srgbClr val="FFFFFF"/>
          </p15:clr>
        </p15:guide>
        <p15:guide id="3" orient="horz" pos="210" userDrawn="1">
          <p15:clr>
            <a:srgbClr val="A4A3A4"/>
          </p15:clr>
        </p15:guide>
        <p15:guide id="4" pos="2774" userDrawn="1">
          <p15:clr>
            <a:srgbClr val="F26B43"/>
          </p15:clr>
        </p15:guide>
        <p15:guide id="5" pos="2389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4906" userDrawn="1">
          <p15:clr>
            <a:srgbClr val="F26B43"/>
          </p15:clr>
        </p15:guide>
        <p15:guide id="8" pos="5087" userDrawn="1">
          <p15:clr>
            <a:srgbClr val="F26B43"/>
          </p15:clr>
        </p15:guide>
        <p15:guide id="9" orient="horz" pos="1185" userDrawn="1">
          <p15:clr>
            <a:srgbClr val="F26B43"/>
          </p15:clr>
        </p15:guide>
        <p15:guide id="10" pos="483" userDrawn="1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WARZ // Titel mit 4 Texten und Bilplatzhalter (unten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8851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825F47CB-5D49-4D48-90E7-17EFE25C6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25D8821-8842-4553-8668-637C54FDB7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1038360"/>
            <a:ext cx="3384550" cy="4139853"/>
          </a:xfrm>
        </p:spPr>
        <p:txBody>
          <a:bodyPr/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226C4E4-A2B3-4F91-ACF4-1386A1141A75}"/>
              </a:ext>
            </a:extLst>
          </p:cNvPr>
          <p:cNvGrpSpPr/>
          <p:nvPr/>
        </p:nvGrpSpPr>
        <p:grpSpPr>
          <a:xfrm>
            <a:off x="0" y="1009784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0" name="Freeform 1">
              <a:extLst>
                <a:ext uri="{FF2B5EF4-FFF2-40B4-BE49-F238E27FC236}">
                  <a16:creationId xmlns:a16="http://schemas.microsoft.com/office/drawing/2014/main" id="{85B15F81-C7C5-4BF1-8B09-16557ED89E46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B52C9D7B-3DEC-4F20-A960-0AB2B7912A0C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9A017E0-97E1-40BF-A118-EF8F27D51FAB}"/>
              </a:ext>
            </a:extLst>
          </p:cNvPr>
          <p:cNvGrpSpPr/>
          <p:nvPr/>
        </p:nvGrpSpPr>
        <p:grpSpPr>
          <a:xfrm>
            <a:off x="0" y="3281931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42A5AD33-28B5-4788-AB7B-7039FE3889C2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B2621DED-4F6C-4FC0-80E4-5B670F3B1177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2EEF72E3-984A-4E1D-B3E5-A8C8F728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038360"/>
            <a:ext cx="3335770" cy="3660853"/>
          </a:xfrm>
        </p:spPr>
        <p:txBody>
          <a:bodyPr/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175DEA8E-1BB4-4543-A778-82112E437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2768" y="1481408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E6C97D9E-74F8-4B39-BB82-1BCFEB4908C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2768" y="3760730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9" name="Text Placeholder 61">
            <a:extLst>
              <a:ext uri="{FF2B5EF4-FFF2-40B4-BE49-F238E27FC236}">
                <a16:creationId xmlns:a16="http://schemas.microsoft.com/office/drawing/2014/main" id="{7E867A1C-F2D3-4594-962F-3D4EDD6E5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4262" y="2738352"/>
            <a:ext cx="1105200" cy="11052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25" name="Freihandform: Form 27">
            <a:extLst>
              <a:ext uri="{FF2B5EF4-FFF2-40B4-BE49-F238E27FC236}">
                <a16:creationId xmlns:a16="http://schemas.microsoft.com/office/drawing/2014/main" id="{33F3E23B-8741-48BD-93C7-936EFB1280EA}"/>
              </a:ext>
            </a:extLst>
          </p:cNvPr>
          <p:cNvSpPr/>
          <p:nvPr userDrawn="1"/>
        </p:nvSpPr>
        <p:spPr>
          <a:xfrm rot="10800000">
            <a:off x="-2" y="0"/>
            <a:ext cx="3976603" cy="400345"/>
          </a:xfrm>
          <a:custGeom>
            <a:avLst/>
            <a:gdLst>
              <a:gd name="connsiteX0" fmla="*/ 3976603 w 3976603"/>
              <a:gd name="connsiteY0" fmla="*/ 400345 h 400345"/>
              <a:gd name="connsiteX1" fmla="*/ 0 w 3976603"/>
              <a:gd name="connsiteY1" fmla="*/ 400345 h 400345"/>
              <a:gd name="connsiteX2" fmla="*/ 3976603 w 3976603"/>
              <a:gd name="connsiteY2" fmla="*/ 0 h 400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76603" h="400345">
                <a:moveTo>
                  <a:pt x="3976603" y="400345"/>
                </a:moveTo>
                <a:lnTo>
                  <a:pt x="0" y="400345"/>
                </a:lnTo>
                <a:lnTo>
                  <a:pt x="3976603" y="0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413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74" userDrawn="1">
          <p15:clr>
            <a:srgbClr val="F26B43"/>
          </p15:clr>
        </p15:guide>
        <p15:guide id="2" pos="4906" userDrawn="1">
          <p15:clr>
            <a:srgbClr val="F26B43"/>
          </p15:clr>
        </p15:guide>
        <p15:guide id="3" pos="5087" userDrawn="1">
          <p15:clr>
            <a:srgbClr val="F26B43"/>
          </p15:clr>
        </p15:guide>
        <p15:guide id="4" pos="2366" userDrawn="1">
          <p15:clr>
            <a:srgbClr val="F26B43"/>
          </p15:clr>
        </p15:guide>
        <p15:guide id="5" pos="279" userDrawn="1">
          <p15:clr>
            <a:srgbClr val="F26B43"/>
          </p15:clr>
        </p15:guide>
        <p15:guide id="6" pos="483" userDrawn="1">
          <p15:clr>
            <a:srgbClr val="A4A3A4"/>
          </p15:clr>
        </p15:guide>
        <p15:guide id="7" orient="horz" pos="754" userDrawn="1">
          <p15:clr>
            <a:srgbClr val="A4A3A4"/>
          </p15:clr>
        </p15:guide>
        <p15:guide id="9" orient="horz" pos="210" userDrawn="1">
          <p15:clr>
            <a:srgbClr val="A4A3A4"/>
          </p15:clr>
        </p15:guide>
        <p15:guide id="10" orient="horz" pos="1071" userDrawn="1">
          <p15:clr>
            <a:srgbClr val="F26B43"/>
          </p15:clr>
        </p15:guide>
        <p15:guide id="11" orient="horz" pos="1185" userDrawn="1">
          <p15:clr>
            <a:srgbClr val="F26B43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 // Titel mit Text und Bildplatzhalter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B210DD08-1A6C-D749-AE2F-8AD16051E71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297397"/>
            <a:ext cx="7788277" cy="5396530"/>
          </a:xfrm>
          <a:custGeom>
            <a:avLst/>
            <a:gdLst>
              <a:gd name="connsiteX0" fmla="*/ 7788277 w 7788277"/>
              <a:gd name="connsiteY0" fmla="*/ 0 h 5396530"/>
              <a:gd name="connsiteX1" fmla="*/ 7788277 w 7788277"/>
              <a:gd name="connsiteY1" fmla="*/ 35829 h 5396530"/>
              <a:gd name="connsiteX2" fmla="*/ 7788277 w 7788277"/>
              <a:gd name="connsiteY2" fmla="*/ 4609377 h 5396530"/>
              <a:gd name="connsiteX3" fmla="*/ 7788277 w 7788277"/>
              <a:gd name="connsiteY3" fmla="*/ 4645206 h 5396530"/>
              <a:gd name="connsiteX4" fmla="*/ 0 w 7788277"/>
              <a:gd name="connsiteY4" fmla="*/ 5396530 h 5396530"/>
              <a:gd name="connsiteX5" fmla="*/ 0 w 7788277"/>
              <a:gd name="connsiteY5" fmla="*/ 5360701 h 5396530"/>
              <a:gd name="connsiteX6" fmla="*/ 0 w 7788277"/>
              <a:gd name="connsiteY6" fmla="*/ 819915 h 5396530"/>
              <a:gd name="connsiteX7" fmla="*/ 0 w 7788277"/>
              <a:gd name="connsiteY7" fmla="*/ 784086 h 5396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88277" h="5396530">
                <a:moveTo>
                  <a:pt x="7788277" y="0"/>
                </a:moveTo>
                <a:lnTo>
                  <a:pt x="7788277" y="35829"/>
                </a:lnTo>
                <a:lnTo>
                  <a:pt x="7788277" y="4609377"/>
                </a:lnTo>
                <a:lnTo>
                  <a:pt x="7788277" y="4645206"/>
                </a:lnTo>
                <a:lnTo>
                  <a:pt x="0" y="5396530"/>
                </a:lnTo>
                <a:lnTo>
                  <a:pt x="0" y="5360701"/>
                </a:lnTo>
                <a:lnTo>
                  <a:pt x="0" y="819915"/>
                </a:lnTo>
                <a:lnTo>
                  <a:pt x="0" y="7840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9267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Freeform 6">
            <a:extLst>
              <a:ext uri="{FF2B5EF4-FFF2-40B4-BE49-F238E27FC236}">
                <a16:creationId xmlns:a16="http://schemas.microsoft.com/office/drawing/2014/main" id="{67FF8414-8E5A-459A-9165-71FF071DA875}"/>
              </a:ext>
            </a:extLst>
          </p:cNvPr>
          <p:cNvSpPr/>
          <p:nvPr userDrawn="1"/>
        </p:nvSpPr>
        <p:spPr>
          <a:xfrm>
            <a:off x="-14320" y="4773329"/>
            <a:ext cx="12206319" cy="2084670"/>
          </a:xfrm>
          <a:custGeom>
            <a:avLst/>
            <a:gdLst>
              <a:gd name="connsiteX0" fmla="*/ 12206319 w 12206319"/>
              <a:gd name="connsiteY0" fmla="*/ 0 h 2084670"/>
              <a:gd name="connsiteX1" fmla="*/ 12206319 w 12206319"/>
              <a:gd name="connsiteY1" fmla="*/ 581488 h 2084670"/>
              <a:gd name="connsiteX2" fmla="*/ 12206319 w 12206319"/>
              <a:gd name="connsiteY2" fmla="*/ 1177527 h 2084670"/>
              <a:gd name="connsiteX3" fmla="*/ 12206319 w 12206319"/>
              <a:gd name="connsiteY3" fmla="*/ 2084670 h 2084670"/>
              <a:gd name="connsiteX4" fmla="*/ 0 w 12206319"/>
              <a:gd name="connsiteY4" fmla="*/ 2084670 h 2084670"/>
              <a:gd name="connsiteX5" fmla="*/ 0 w 12206319"/>
              <a:gd name="connsiteY5" fmla="*/ 1177527 h 2084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06319" h="2084670">
                <a:moveTo>
                  <a:pt x="12206319" y="0"/>
                </a:moveTo>
                <a:lnTo>
                  <a:pt x="12206319" y="581488"/>
                </a:lnTo>
                <a:lnTo>
                  <a:pt x="12206319" y="1177527"/>
                </a:lnTo>
                <a:lnTo>
                  <a:pt x="12206319" y="2084670"/>
                </a:lnTo>
                <a:lnTo>
                  <a:pt x="0" y="2084670"/>
                </a:lnTo>
                <a:lnTo>
                  <a:pt x="0" y="1177527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8" name="Freeform 75">
            <a:extLst>
              <a:ext uri="{FF2B5EF4-FFF2-40B4-BE49-F238E27FC236}">
                <a16:creationId xmlns:a16="http://schemas.microsoft.com/office/drawing/2014/main" id="{2CFF6931-BFFB-4A62-B2EA-3CB764125AD2}"/>
              </a:ext>
            </a:extLst>
          </p:cNvPr>
          <p:cNvSpPr/>
          <p:nvPr userDrawn="1"/>
        </p:nvSpPr>
        <p:spPr>
          <a:xfrm>
            <a:off x="8922326" y="5213506"/>
            <a:ext cx="2284395" cy="1894178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D9E003">
              <a:alpha val="2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9" name="Text Placeholder 61">
            <a:extLst>
              <a:ext uri="{FF2B5EF4-FFF2-40B4-BE49-F238E27FC236}">
                <a16:creationId xmlns:a16="http://schemas.microsoft.com/office/drawing/2014/main" id="{7E867A1C-F2D3-4594-962F-3D4EDD6E5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7083" y="4447708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29" name="Text Placeholder 34">
            <a:extLst>
              <a:ext uri="{FF2B5EF4-FFF2-40B4-BE49-F238E27FC236}">
                <a16:creationId xmlns:a16="http://schemas.microsoft.com/office/drawing/2014/main" id="{20E344C6-0D9D-48BE-A8DB-BA19B21C3A4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016000"/>
            <a:ext cx="3335770" cy="3757329"/>
          </a:xfrm>
        </p:spPr>
        <p:txBody>
          <a:bodyPr/>
          <a:lstStyle>
            <a:lvl1pPr marL="0" indent="0">
              <a:buNone/>
              <a:defRPr b="1" spc="0">
                <a:solidFill>
                  <a:schemeClr val="tx1"/>
                </a:solidFill>
              </a:defRPr>
            </a:lvl1pPr>
            <a:lvl2pPr marL="0" indent="0">
              <a:buNone/>
              <a:defRPr spc="0">
                <a:solidFill>
                  <a:schemeClr val="tx1"/>
                </a:solidFill>
              </a:defRPr>
            </a:lvl2pPr>
            <a:lvl3pPr>
              <a:buClr>
                <a:schemeClr val="tx2"/>
              </a:buClr>
              <a:buSzPct val="100000"/>
              <a:buFont typeface="Arial" panose="020B0604020202020204" pitchFamily="34" charset="0"/>
              <a:buChar char="&gt;"/>
              <a:defRPr spc="0">
                <a:solidFill>
                  <a:schemeClr val="tx1"/>
                </a:solidFill>
              </a:defRPr>
            </a:lvl3pPr>
            <a:lvl4pPr marL="715963" indent="-357188"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&gt;"/>
              <a:defRPr spc="0">
                <a:solidFill>
                  <a:schemeClr val="tx1"/>
                </a:solidFill>
              </a:defRPr>
            </a:lvl4pPr>
            <a:lvl5pPr marL="360363" indent="-360363">
              <a:buSzPct val="130000"/>
              <a:buFontTx/>
              <a:buBlip>
                <a:blip r:embed="rId6"/>
              </a:buBlip>
              <a:defRPr b="0" spc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1535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87" userDrawn="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CHWARZ // Bildplatzhal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2517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9C8FAAA3-C206-4AB6-B5E7-12A5FFBDB57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5286826"/>
          </a:xfrm>
          <a:custGeom>
            <a:avLst/>
            <a:gdLst>
              <a:gd name="connsiteX0" fmla="*/ 0 w 12192000"/>
              <a:gd name="connsiteY0" fmla="*/ 0 h 5286826"/>
              <a:gd name="connsiteX1" fmla="*/ 12192000 w 12192000"/>
              <a:gd name="connsiteY1" fmla="*/ 0 h 5286826"/>
              <a:gd name="connsiteX2" fmla="*/ 12192000 w 12192000"/>
              <a:gd name="connsiteY2" fmla="*/ 4110680 h 5286826"/>
              <a:gd name="connsiteX3" fmla="*/ 0 w 12192000"/>
              <a:gd name="connsiteY3" fmla="*/ 5286826 h 5286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86826">
                <a:moveTo>
                  <a:pt x="0" y="0"/>
                </a:moveTo>
                <a:lnTo>
                  <a:pt x="12192000" y="0"/>
                </a:lnTo>
                <a:lnTo>
                  <a:pt x="12192000" y="4110680"/>
                </a:lnTo>
                <a:lnTo>
                  <a:pt x="0" y="528682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1587030"/>
            <a:ext cx="7856911" cy="1477328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375890"/>
            <a:ext cx="9212849" cy="984885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32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3CC68A23-E418-487E-BB61-DBF9AB5D5585}"/>
              </a:ext>
            </a:extLst>
          </p:cNvPr>
          <p:cNvSpPr/>
          <p:nvPr userDrawn="1"/>
        </p:nvSpPr>
        <p:spPr>
          <a:xfrm>
            <a:off x="9413269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47771F56-AB96-4166-9A11-401910BDF52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897" y="5679467"/>
            <a:ext cx="4310578" cy="721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684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 userDrawn="1">
          <p15:clr>
            <a:srgbClr val="A4A3A4"/>
          </p15:clr>
        </p15:guide>
        <p15:guide id="4" orient="horz" pos="754" userDrawn="1">
          <p15:clr>
            <a:srgbClr val="A4A3A4"/>
          </p15:clr>
        </p15:guide>
        <p15:guide id="5" orient="horz" pos="640" userDrawn="1">
          <p15:clr>
            <a:srgbClr val="A4A3A4"/>
          </p15:clr>
        </p15:guide>
        <p15:guide id="6" orient="horz" pos="210" userDrawn="1">
          <p15:clr>
            <a:srgbClr val="A4A3A4"/>
          </p15:clr>
        </p15:guide>
        <p15:guide id="7" pos="7197" userDrawn="1">
          <p15:clr>
            <a:srgbClr val="A4A3A4"/>
          </p15:clr>
        </p15:guide>
        <p15:guide id="8" orient="horz" pos="4065" userDrawn="1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r Bilplatzhalt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1514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ihandform: Form 27">
            <a:extLst>
              <a:ext uri="{FF2B5EF4-FFF2-40B4-BE49-F238E27FC236}">
                <a16:creationId xmlns:a16="http://schemas.microsoft.com/office/drawing/2014/main" id="{95D94426-CD31-4CB6-9F92-417C86DD83E5}"/>
              </a:ext>
            </a:extLst>
          </p:cNvPr>
          <p:cNvSpPr/>
          <p:nvPr userDrawn="1"/>
        </p:nvSpPr>
        <p:spPr>
          <a:xfrm rot="10800000" flipH="1" flipV="1">
            <a:off x="1449685" y="5776515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756F5AB8-9436-4ACC-9DE2-DE3EA98CC9A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742305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223370 h 6858000"/>
              <a:gd name="connsiteX3" fmla="*/ 5621103 w 12192000"/>
              <a:gd name="connsiteY3" fmla="*/ 6858000 h 6858000"/>
              <a:gd name="connsiteX4" fmla="*/ 0 w 12192000"/>
              <a:gd name="connsiteY4" fmla="*/ 6858000 h 6858000"/>
              <a:gd name="connsiteX5" fmla="*/ 0 w 12192000"/>
              <a:gd name="connsiteY5" fmla="*/ 10814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0742305" y="0"/>
                </a:moveTo>
                <a:lnTo>
                  <a:pt x="12192000" y="0"/>
                </a:lnTo>
                <a:lnTo>
                  <a:pt x="12192000" y="6223370"/>
                </a:lnTo>
                <a:lnTo>
                  <a:pt x="5621103" y="6858000"/>
                </a:lnTo>
                <a:lnTo>
                  <a:pt x="0" y="6858000"/>
                </a:lnTo>
                <a:lnTo>
                  <a:pt x="0" y="108148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23AD241-DF8E-4051-8B5A-E0AA069385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2331641"/>
            <a:ext cx="5127438" cy="4526359"/>
          </a:xfrm>
          <a:custGeom>
            <a:avLst/>
            <a:gdLst>
              <a:gd name="connsiteX0" fmla="*/ 5100034 w 5127438"/>
              <a:gd name="connsiteY0" fmla="*/ 0 h 4526359"/>
              <a:gd name="connsiteX1" fmla="*/ 5127438 w 5127438"/>
              <a:gd name="connsiteY1" fmla="*/ 0 h 4526359"/>
              <a:gd name="connsiteX2" fmla="*/ 5127438 w 5127438"/>
              <a:gd name="connsiteY2" fmla="*/ 4211781 h 4526359"/>
              <a:gd name="connsiteX3" fmla="*/ 2002757 w 5127438"/>
              <a:gd name="connsiteY3" fmla="*/ 4526359 h 4526359"/>
              <a:gd name="connsiteX4" fmla="*/ 0 w 5127438"/>
              <a:gd name="connsiteY4" fmla="*/ 4526359 h 4526359"/>
              <a:gd name="connsiteX5" fmla="*/ 0 w 5127438"/>
              <a:gd name="connsiteY5" fmla="*/ 513447 h 4526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27438" h="4526359">
                <a:moveTo>
                  <a:pt x="5100034" y="0"/>
                </a:moveTo>
                <a:lnTo>
                  <a:pt x="5127438" y="0"/>
                </a:lnTo>
                <a:lnTo>
                  <a:pt x="5127438" y="4211781"/>
                </a:lnTo>
                <a:lnTo>
                  <a:pt x="2002757" y="4526359"/>
                </a:lnTo>
                <a:lnTo>
                  <a:pt x="0" y="4526359"/>
                </a:lnTo>
                <a:lnTo>
                  <a:pt x="0" y="513447"/>
                </a:lnTo>
                <a:close/>
              </a:path>
            </a:pathLst>
          </a:custGeom>
          <a:solidFill>
            <a:schemeClr val="tx2">
              <a:alpha val="74000"/>
            </a:schemeClr>
          </a:solidFill>
        </p:spPr>
        <p:txBody>
          <a:bodyPr wrap="square" lIns="1008000" tIns="864000" rIns="1008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6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43040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 // 2 Texte auf Bil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F0BFEF38-786D-4152-A749-2AFFD780C12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97398"/>
            <a:ext cx="7788277" cy="6216757"/>
          </a:xfrm>
          <a:custGeom>
            <a:avLst/>
            <a:gdLst>
              <a:gd name="connsiteX0" fmla="*/ 7788277 w 7788277"/>
              <a:gd name="connsiteY0" fmla="*/ 0 h 6216757"/>
              <a:gd name="connsiteX1" fmla="*/ 7788277 w 7788277"/>
              <a:gd name="connsiteY1" fmla="*/ 856056 h 6216757"/>
              <a:gd name="connsiteX2" fmla="*/ 7788277 w 7788277"/>
              <a:gd name="connsiteY2" fmla="*/ 979568 h 6216757"/>
              <a:gd name="connsiteX3" fmla="*/ 4116386 w 7788277"/>
              <a:gd name="connsiteY3" fmla="*/ 1349236 h 6216757"/>
              <a:gd name="connsiteX4" fmla="*/ 4116386 w 7788277"/>
              <a:gd name="connsiteY4" fmla="*/ 1364277 h 6216757"/>
              <a:gd name="connsiteX5" fmla="*/ 4116386 w 7788277"/>
              <a:gd name="connsiteY5" fmla="*/ 3014189 h 6216757"/>
              <a:gd name="connsiteX6" fmla="*/ 4116386 w 7788277"/>
              <a:gd name="connsiteY6" fmla="*/ 5819655 h 6216757"/>
              <a:gd name="connsiteX7" fmla="*/ 0 w 7788277"/>
              <a:gd name="connsiteY7" fmla="*/ 6216757 h 6216757"/>
              <a:gd name="connsiteX8" fmla="*/ 0 w 7788277"/>
              <a:gd name="connsiteY8" fmla="*/ 5360701 h 6216757"/>
              <a:gd name="connsiteX9" fmla="*/ 0 w 7788277"/>
              <a:gd name="connsiteY9" fmla="*/ 1640142 h 6216757"/>
              <a:gd name="connsiteX10" fmla="*/ 0 w 7788277"/>
              <a:gd name="connsiteY10" fmla="*/ 784086 h 6216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88277" h="6216757">
                <a:moveTo>
                  <a:pt x="7788277" y="0"/>
                </a:moveTo>
                <a:lnTo>
                  <a:pt x="7788277" y="856056"/>
                </a:lnTo>
                <a:lnTo>
                  <a:pt x="7788277" y="979568"/>
                </a:lnTo>
                <a:lnTo>
                  <a:pt x="4116386" y="1349236"/>
                </a:lnTo>
                <a:lnTo>
                  <a:pt x="4116386" y="1364277"/>
                </a:lnTo>
                <a:lnTo>
                  <a:pt x="4116386" y="3014189"/>
                </a:lnTo>
                <a:lnTo>
                  <a:pt x="4116386" y="5819655"/>
                </a:lnTo>
                <a:lnTo>
                  <a:pt x="0" y="6216757"/>
                </a:lnTo>
                <a:lnTo>
                  <a:pt x="0" y="5360701"/>
                </a:lnTo>
                <a:lnTo>
                  <a:pt x="0" y="1640142"/>
                </a:lnTo>
                <a:lnTo>
                  <a:pt x="0" y="7840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148BEEFE-4F0A-4044-96B5-A6ADD49FFDC3}"/>
              </a:ext>
            </a:extLst>
          </p:cNvPr>
          <p:cNvSpPr/>
          <p:nvPr userDrawn="1"/>
        </p:nvSpPr>
        <p:spPr>
          <a:xfrm rot="10800000">
            <a:off x="4116386" y="878210"/>
            <a:ext cx="7632701" cy="5912718"/>
          </a:xfrm>
          <a:custGeom>
            <a:avLst/>
            <a:gdLst>
              <a:gd name="connsiteX0" fmla="*/ 0 w 7632701"/>
              <a:gd name="connsiteY0" fmla="*/ 5912718 h 5912718"/>
              <a:gd name="connsiteX1" fmla="*/ 0 w 7632701"/>
              <a:gd name="connsiteY1" fmla="*/ 5897677 h 5912718"/>
              <a:gd name="connsiteX2" fmla="*/ 0 w 7632701"/>
              <a:gd name="connsiteY2" fmla="*/ 5837327 h 5912718"/>
              <a:gd name="connsiteX3" fmla="*/ 0 w 7632701"/>
              <a:gd name="connsiteY3" fmla="*/ 5774928 h 5912718"/>
              <a:gd name="connsiteX4" fmla="*/ 0 w 7632701"/>
              <a:gd name="connsiteY4" fmla="*/ 5759887 h 5912718"/>
              <a:gd name="connsiteX5" fmla="*/ 0 w 7632701"/>
              <a:gd name="connsiteY5" fmla="*/ 5699537 h 5912718"/>
              <a:gd name="connsiteX6" fmla="*/ 0 w 7632701"/>
              <a:gd name="connsiteY6" fmla="*/ 5697598 h 5912718"/>
              <a:gd name="connsiteX7" fmla="*/ 0 w 7632701"/>
              <a:gd name="connsiteY7" fmla="*/ 5589538 h 5912718"/>
              <a:gd name="connsiteX8" fmla="*/ 0 w 7632701"/>
              <a:gd name="connsiteY8" fmla="*/ 5559808 h 5912718"/>
              <a:gd name="connsiteX9" fmla="*/ 0 w 7632701"/>
              <a:gd name="connsiteY9" fmla="*/ 5530900 h 5912718"/>
              <a:gd name="connsiteX10" fmla="*/ 0 w 7632701"/>
              <a:gd name="connsiteY10" fmla="*/ 5451748 h 5912718"/>
              <a:gd name="connsiteX11" fmla="*/ 0 w 7632701"/>
              <a:gd name="connsiteY11" fmla="*/ 5422839 h 5912718"/>
              <a:gd name="connsiteX12" fmla="*/ 0 w 7632701"/>
              <a:gd name="connsiteY12" fmla="*/ 5393110 h 5912718"/>
              <a:gd name="connsiteX13" fmla="*/ 0 w 7632701"/>
              <a:gd name="connsiteY13" fmla="*/ 5285049 h 5912718"/>
              <a:gd name="connsiteX14" fmla="*/ 0 w 7632701"/>
              <a:gd name="connsiteY14" fmla="*/ 5275330 h 5912718"/>
              <a:gd name="connsiteX15" fmla="*/ 0 w 7632701"/>
              <a:gd name="connsiteY15" fmla="*/ 5137540 h 5912718"/>
              <a:gd name="connsiteX16" fmla="*/ 0 w 7632701"/>
              <a:gd name="connsiteY16" fmla="*/ 4247765 h 5912718"/>
              <a:gd name="connsiteX17" fmla="*/ 0 w 7632701"/>
              <a:gd name="connsiteY17" fmla="*/ 4109975 h 5912718"/>
              <a:gd name="connsiteX18" fmla="*/ 0 w 7632701"/>
              <a:gd name="connsiteY18" fmla="*/ 3625418 h 5912718"/>
              <a:gd name="connsiteX19" fmla="*/ 0 w 7632701"/>
              <a:gd name="connsiteY19" fmla="*/ 3487628 h 5912718"/>
              <a:gd name="connsiteX20" fmla="*/ 0 w 7632701"/>
              <a:gd name="connsiteY20" fmla="*/ 3379668 h 5912718"/>
              <a:gd name="connsiteX21" fmla="*/ 0 w 7632701"/>
              <a:gd name="connsiteY21" fmla="*/ 3241878 h 5912718"/>
              <a:gd name="connsiteX22" fmla="*/ 0 w 7632701"/>
              <a:gd name="connsiteY22" fmla="*/ 2970612 h 5912718"/>
              <a:gd name="connsiteX23" fmla="*/ 0 w 7632701"/>
              <a:gd name="connsiteY23" fmla="*/ 2832822 h 5912718"/>
              <a:gd name="connsiteX24" fmla="*/ 0 w 7632701"/>
              <a:gd name="connsiteY24" fmla="*/ 2664186 h 5912718"/>
              <a:gd name="connsiteX25" fmla="*/ 0 w 7632701"/>
              <a:gd name="connsiteY25" fmla="*/ 2556126 h 5912718"/>
              <a:gd name="connsiteX26" fmla="*/ 0 w 7632701"/>
              <a:gd name="connsiteY26" fmla="*/ 2526396 h 5912718"/>
              <a:gd name="connsiteX27" fmla="*/ 0 w 7632701"/>
              <a:gd name="connsiteY27" fmla="*/ 2418336 h 5912718"/>
              <a:gd name="connsiteX28" fmla="*/ 0 w 7632701"/>
              <a:gd name="connsiteY28" fmla="*/ 1729756 h 5912718"/>
              <a:gd name="connsiteX29" fmla="*/ 0 w 7632701"/>
              <a:gd name="connsiteY29" fmla="*/ 1591966 h 5912718"/>
              <a:gd name="connsiteX30" fmla="*/ 0 w 7632701"/>
              <a:gd name="connsiteY30" fmla="*/ 1320700 h 5912718"/>
              <a:gd name="connsiteX31" fmla="*/ 0 w 7632701"/>
              <a:gd name="connsiteY31" fmla="*/ 1182910 h 5912718"/>
              <a:gd name="connsiteX32" fmla="*/ 0 w 7632701"/>
              <a:gd name="connsiteY32" fmla="*/ 1014273 h 5912718"/>
              <a:gd name="connsiteX33" fmla="*/ 0 w 7632701"/>
              <a:gd name="connsiteY33" fmla="*/ 906214 h 5912718"/>
              <a:gd name="connsiteX34" fmla="*/ 0 w 7632701"/>
              <a:gd name="connsiteY34" fmla="*/ 876483 h 5912718"/>
              <a:gd name="connsiteX35" fmla="*/ 0 w 7632701"/>
              <a:gd name="connsiteY35" fmla="*/ 768424 h 5912718"/>
              <a:gd name="connsiteX36" fmla="*/ 7632701 w 7632701"/>
              <a:gd name="connsiteY36" fmla="*/ 0 h 5912718"/>
              <a:gd name="connsiteX37" fmla="*/ 7632701 w 7632701"/>
              <a:gd name="connsiteY37" fmla="*/ 137790 h 5912718"/>
              <a:gd name="connsiteX38" fmla="*/ 7632701 w 7632701"/>
              <a:gd name="connsiteY38" fmla="*/ 3341551 h 5912718"/>
              <a:gd name="connsiteX39" fmla="*/ 7632701 w 7632701"/>
              <a:gd name="connsiteY39" fmla="*/ 3479341 h 5912718"/>
              <a:gd name="connsiteX40" fmla="*/ 7632701 w 7632701"/>
              <a:gd name="connsiteY40" fmla="*/ 4991463 h 5912718"/>
              <a:gd name="connsiteX41" fmla="*/ 7632701 w 7632701"/>
              <a:gd name="connsiteY41" fmla="*/ 5006504 h 5912718"/>
              <a:gd name="connsiteX42" fmla="*/ 7632701 w 7632701"/>
              <a:gd name="connsiteY42" fmla="*/ 5129253 h 5912718"/>
              <a:gd name="connsiteX43" fmla="*/ 7632701 w 7632701"/>
              <a:gd name="connsiteY43" fmla="*/ 5144294 h 5912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7632701" h="5912718">
                <a:moveTo>
                  <a:pt x="0" y="5912718"/>
                </a:moveTo>
                <a:lnTo>
                  <a:pt x="0" y="5897677"/>
                </a:lnTo>
                <a:lnTo>
                  <a:pt x="0" y="5837327"/>
                </a:lnTo>
                <a:lnTo>
                  <a:pt x="0" y="5774928"/>
                </a:lnTo>
                <a:lnTo>
                  <a:pt x="0" y="5759887"/>
                </a:lnTo>
                <a:lnTo>
                  <a:pt x="0" y="5699537"/>
                </a:lnTo>
                <a:lnTo>
                  <a:pt x="0" y="5697598"/>
                </a:lnTo>
                <a:lnTo>
                  <a:pt x="0" y="5589538"/>
                </a:lnTo>
                <a:lnTo>
                  <a:pt x="0" y="5559808"/>
                </a:lnTo>
                <a:lnTo>
                  <a:pt x="0" y="5530900"/>
                </a:lnTo>
                <a:lnTo>
                  <a:pt x="0" y="5451748"/>
                </a:lnTo>
                <a:lnTo>
                  <a:pt x="0" y="5422839"/>
                </a:lnTo>
                <a:lnTo>
                  <a:pt x="0" y="5393110"/>
                </a:lnTo>
                <a:lnTo>
                  <a:pt x="0" y="5285049"/>
                </a:lnTo>
                <a:lnTo>
                  <a:pt x="0" y="5275330"/>
                </a:lnTo>
                <a:lnTo>
                  <a:pt x="0" y="5137540"/>
                </a:lnTo>
                <a:lnTo>
                  <a:pt x="0" y="4247765"/>
                </a:lnTo>
                <a:lnTo>
                  <a:pt x="0" y="4109975"/>
                </a:lnTo>
                <a:lnTo>
                  <a:pt x="0" y="3625418"/>
                </a:lnTo>
                <a:lnTo>
                  <a:pt x="0" y="3487628"/>
                </a:lnTo>
                <a:lnTo>
                  <a:pt x="0" y="3379668"/>
                </a:lnTo>
                <a:lnTo>
                  <a:pt x="0" y="3241878"/>
                </a:lnTo>
                <a:lnTo>
                  <a:pt x="0" y="2970612"/>
                </a:lnTo>
                <a:lnTo>
                  <a:pt x="0" y="2832822"/>
                </a:lnTo>
                <a:lnTo>
                  <a:pt x="0" y="2664186"/>
                </a:lnTo>
                <a:lnTo>
                  <a:pt x="0" y="2556126"/>
                </a:lnTo>
                <a:lnTo>
                  <a:pt x="0" y="2526396"/>
                </a:lnTo>
                <a:lnTo>
                  <a:pt x="0" y="2418336"/>
                </a:lnTo>
                <a:lnTo>
                  <a:pt x="0" y="1729756"/>
                </a:lnTo>
                <a:lnTo>
                  <a:pt x="0" y="1591966"/>
                </a:lnTo>
                <a:lnTo>
                  <a:pt x="0" y="1320700"/>
                </a:lnTo>
                <a:lnTo>
                  <a:pt x="0" y="1182910"/>
                </a:lnTo>
                <a:lnTo>
                  <a:pt x="0" y="1014273"/>
                </a:lnTo>
                <a:lnTo>
                  <a:pt x="0" y="906214"/>
                </a:lnTo>
                <a:lnTo>
                  <a:pt x="0" y="876483"/>
                </a:lnTo>
                <a:lnTo>
                  <a:pt x="0" y="768424"/>
                </a:lnTo>
                <a:lnTo>
                  <a:pt x="7632701" y="0"/>
                </a:lnTo>
                <a:lnTo>
                  <a:pt x="7632701" y="137790"/>
                </a:lnTo>
                <a:lnTo>
                  <a:pt x="7632701" y="3341551"/>
                </a:lnTo>
                <a:lnTo>
                  <a:pt x="7632701" y="3479341"/>
                </a:lnTo>
                <a:lnTo>
                  <a:pt x="7632701" y="4991463"/>
                </a:lnTo>
                <a:lnTo>
                  <a:pt x="7632701" y="5006504"/>
                </a:lnTo>
                <a:lnTo>
                  <a:pt x="7632701" y="5129253"/>
                </a:lnTo>
                <a:lnTo>
                  <a:pt x="7632701" y="5144294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552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Freihandform: Form 22">
            <a:extLst>
              <a:ext uri="{FF2B5EF4-FFF2-40B4-BE49-F238E27FC236}">
                <a16:creationId xmlns:a16="http://schemas.microsoft.com/office/drawing/2014/main" id="{A0D903E6-C44E-4A70-A6AE-FB7D4F2C04E9}"/>
              </a:ext>
            </a:extLst>
          </p:cNvPr>
          <p:cNvSpPr/>
          <p:nvPr userDrawn="1"/>
        </p:nvSpPr>
        <p:spPr>
          <a:xfrm>
            <a:off x="5613395" y="6223371"/>
            <a:ext cx="6578604" cy="634629"/>
          </a:xfrm>
          <a:custGeom>
            <a:avLst/>
            <a:gdLst>
              <a:gd name="connsiteX0" fmla="*/ 6578604 w 6578604"/>
              <a:gd name="connsiteY0" fmla="*/ 0 h 634629"/>
              <a:gd name="connsiteX1" fmla="*/ 6578604 w 6578604"/>
              <a:gd name="connsiteY1" fmla="*/ 581488 h 634629"/>
              <a:gd name="connsiteX2" fmla="*/ 6578604 w 6578604"/>
              <a:gd name="connsiteY2" fmla="*/ 634629 h 634629"/>
              <a:gd name="connsiteX3" fmla="*/ 0 w 6578604"/>
              <a:gd name="connsiteY3" fmla="*/ 634629 h 634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8604" h="634629">
                <a:moveTo>
                  <a:pt x="6578604" y="0"/>
                </a:moveTo>
                <a:lnTo>
                  <a:pt x="6578604" y="581488"/>
                </a:lnTo>
                <a:lnTo>
                  <a:pt x="6578604" y="634629"/>
                </a:lnTo>
                <a:lnTo>
                  <a:pt x="0" y="634629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0" name="Text Placeholder 61">
            <a:extLst>
              <a:ext uri="{FF2B5EF4-FFF2-40B4-BE49-F238E27FC236}">
                <a16:creationId xmlns:a16="http://schemas.microsoft.com/office/drawing/2014/main" id="{2D02F780-5912-428A-9BD7-0A3D8102FA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8999" y="589506"/>
            <a:ext cx="1216800" cy="12168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1" name="Text Placeholder 34">
            <a:extLst>
              <a:ext uri="{FF2B5EF4-FFF2-40B4-BE49-F238E27FC236}">
                <a16:creationId xmlns:a16="http://schemas.microsoft.com/office/drawing/2014/main" id="{F68C68D2-6AA1-4354-AC6D-4CF0689386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1897316"/>
            <a:ext cx="3384550" cy="3806797"/>
          </a:xfrm>
        </p:spPr>
        <p:txBody>
          <a:bodyPr/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6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2" name="Text Placeholder 34">
            <a:extLst>
              <a:ext uri="{FF2B5EF4-FFF2-40B4-BE49-F238E27FC236}">
                <a16:creationId xmlns:a16="http://schemas.microsoft.com/office/drawing/2014/main" id="{B2627D31-BA2B-49B5-A7EB-39B12E23280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897316"/>
            <a:ext cx="3335770" cy="3806797"/>
          </a:xfrm>
        </p:spPr>
        <p:txBody>
          <a:bodyPr/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6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1286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87">
          <p15:clr>
            <a:srgbClr val="F26B43"/>
          </p15:clr>
        </p15:guide>
        <p15:guide id="2" pos="4906" userDrawn="1">
          <p15:clr>
            <a:srgbClr val="F26B43"/>
          </p15:clr>
        </p15:guide>
        <p15:guide id="3" pos="2774" userDrawn="1">
          <p15:clr>
            <a:srgbClr val="F26B43"/>
          </p15:clr>
        </p15:guide>
        <p15:guide id="4" orient="horz" pos="1185" userDrawn="1">
          <p15:clr>
            <a:srgbClr val="F26B43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WARZ // 2 Texte auf Bilplatzhal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29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F0BFEF38-786D-4152-A749-2AFFD780C12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97398"/>
            <a:ext cx="7788277" cy="6216757"/>
          </a:xfrm>
          <a:custGeom>
            <a:avLst/>
            <a:gdLst>
              <a:gd name="connsiteX0" fmla="*/ 7788277 w 7788277"/>
              <a:gd name="connsiteY0" fmla="*/ 0 h 6216757"/>
              <a:gd name="connsiteX1" fmla="*/ 7788277 w 7788277"/>
              <a:gd name="connsiteY1" fmla="*/ 856056 h 6216757"/>
              <a:gd name="connsiteX2" fmla="*/ 7788277 w 7788277"/>
              <a:gd name="connsiteY2" fmla="*/ 979568 h 6216757"/>
              <a:gd name="connsiteX3" fmla="*/ 4116386 w 7788277"/>
              <a:gd name="connsiteY3" fmla="*/ 1349236 h 6216757"/>
              <a:gd name="connsiteX4" fmla="*/ 4116386 w 7788277"/>
              <a:gd name="connsiteY4" fmla="*/ 1364277 h 6216757"/>
              <a:gd name="connsiteX5" fmla="*/ 4116386 w 7788277"/>
              <a:gd name="connsiteY5" fmla="*/ 3014189 h 6216757"/>
              <a:gd name="connsiteX6" fmla="*/ 4116386 w 7788277"/>
              <a:gd name="connsiteY6" fmla="*/ 5819655 h 6216757"/>
              <a:gd name="connsiteX7" fmla="*/ 0 w 7788277"/>
              <a:gd name="connsiteY7" fmla="*/ 6216757 h 6216757"/>
              <a:gd name="connsiteX8" fmla="*/ 0 w 7788277"/>
              <a:gd name="connsiteY8" fmla="*/ 5360701 h 6216757"/>
              <a:gd name="connsiteX9" fmla="*/ 0 w 7788277"/>
              <a:gd name="connsiteY9" fmla="*/ 1640142 h 6216757"/>
              <a:gd name="connsiteX10" fmla="*/ 0 w 7788277"/>
              <a:gd name="connsiteY10" fmla="*/ 784086 h 6216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88277" h="6216757">
                <a:moveTo>
                  <a:pt x="7788277" y="0"/>
                </a:moveTo>
                <a:lnTo>
                  <a:pt x="7788277" y="856056"/>
                </a:lnTo>
                <a:lnTo>
                  <a:pt x="7788277" y="979568"/>
                </a:lnTo>
                <a:lnTo>
                  <a:pt x="4116386" y="1349236"/>
                </a:lnTo>
                <a:lnTo>
                  <a:pt x="4116386" y="1364277"/>
                </a:lnTo>
                <a:lnTo>
                  <a:pt x="4116386" y="3014189"/>
                </a:lnTo>
                <a:lnTo>
                  <a:pt x="4116386" y="5819655"/>
                </a:lnTo>
                <a:lnTo>
                  <a:pt x="0" y="6216757"/>
                </a:lnTo>
                <a:lnTo>
                  <a:pt x="0" y="5360701"/>
                </a:lnTo>
                <a:lnTo>
                  <a:pt x="0" y="1640142"/>
                </a:lnTo>
                <a:lnTo>
                  <a:pt x="0" y="7840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Freeform 41">
            <a:extLst>
              <a:ext uri="{FF2B5EF4-FFF2-40B4-BE49-F238E27FC236}">
                <a16:creationId xmlns:a16="http://schemas.microsoft.com/office/drawing/2014/main" id="{4F07A579-28CA-49F5-9EEC-EB5412BEBA56}"/>
              </a:ext>
            </a:extLst>
          </p:cNvPr>
          <p:cNvSpPr/>
          <p:nvPr/>
        </p:nvSpPr>
        <p:spPr>
          <a:xfrm>
            <a:off x="102758" y="518040"/>
            <a:ext cx="446364" cy="370116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Freihandform: Form 22">
            <a:extLst>
              <a:ext uri="{FF2B5EF4-FFF2-40B4-BE49-F238E27FC236}">
                <a16:creationId xmlns:a16="http://schemas.microsoft.com/office/drawing/2014/main" id="{A0D903E6-C44E-4A70-A6AE-FB7D4F2C04E9}"/>
              </a:ext>
            </a:extLst>
          </p:cNvPr>
          <p:cNvSpPr/>
          <p:nvPr userDrawn="1"/>
        </p:nvSpPr>
        <p:spPr>
          <a:xfrm>
            <a:off x="5613395" y="6223371"/>
            <a:ext cx="6578604" cy="634629"/>
          </a:xfrm>
          <a:custGeom>
            <a:avLst/>
            <a:gdLst>
              <a:gd name="connsiteX0" fmla="*/ 6578604 w 6578604"/>
              <a:gd name="connsiteY0" fmla="*/ 0 h 634629"/>
              <a:gd name="connsiteX1" fmla="*/ 6578604 w 6578604"/>
              <a:gd name="connsiteY1" fmla="*/ 581488 h 634629"/>
              <a:gd name="connsiteX2" fmla="*/ 6578604 w 6578604"/>
              <a:gd name="connsiteY2" fmla="*/ 634629 h 634629"/>
              <a:gd name="connsiteX3" fmla="*/ 0 w 6578604"/>
              <a:gd name="connsiteY3" fmla="*/ 634629 h 634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8604" h="634629">
                <a:moveTo>
                  <a:pt x="6578604" y="0"/>
                </a:moveTo>
                <a:lnTo>
                  <a:pt x="6578604" y="581488"/>
                </a:lnTo>
                <a:lnTo>
                  <a:pt x="6578604" y="634629"/>
                </a:lnTo>
                <a:lnTo>
                  <a:pt x="0" y="634629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5" name="Freeform 45">
            <a:extLst>
              <a:ext uri="{FF2B5EF4-FFF2-40B4-BE49-F238E27FC236}">
                <a16:creationId xmlns:a16="http://schemas.microsoft.com/office/drawing/2014/main" id="{D689FEEF-524A-4000-8584-86BE1EBD1742}"/>
              </a:ext>
            </a:extLst>
          </p:cNvPr>
          <p:cNvSpPr/>
          <p:nvPr userDrawn="1"/>
        </p:nvSpPr>
        <p:spPr>
          <a:xfrm rot="10800000">
            <a:off x="4116386" y="878210"/>
            <a:ext cx="7632701" cy="5774928"/>
          </a:xfrm>
          <a:custGeom>
            <a:avLst/>
            <a:gdLst>
              <a:gd name="connsiteX0" fmla="*/ 0 w 7632701"/>
              <a:gd name="connsiteY0" fmla="*/ 5774928 h 5774928"/>
              <a:gd name="connsiteX1" fmla="*/ 0 w 7632701"/>
              <a:gd name="connsiteY1" fmla="*/ 5759887 h 5774928"/>
              <a:gd name="connsiteX2" fmla="*/ 0 w 7632701"/>
              <a:gd name="connsiteY2" fmla="*/ 5699537 h 5774928"/>
              <a:gd name="connsiteX3" fmla="*/ 0 w 7632701"/>
              <a:gd name="connsiteY3" fmla="*/ 5559808 h 5774928"/>
              <a:gd name="connsiteX4" fmla="*/ 0 w 7632701"/>
              <a:gd name="connsiteY4" fmla="*/ 5451748 h 5774928"/>
              <a:gd name="connsiteX5" fmla="*/ 0 w 7632701"/>
              <a:gd name="connsiteY5" fmla="*/ 5393110 h 5774928"/>
              <a:gd name="connsiteX6" fmla="*/ 0 w 7632701"/>
              <a:gd name="connsiteY6" fmla="*/ 5285049 h 5774928"/>
              <a:gd name="connsiteX7" fmla="*/ 0 w 7632701"/>
              <a:gd name="connsiteY7" fmla="*/ 5137540 h 5774928"/>
              <a:gd name="connsiteX8" fmla="*/ 0 w 7632701"/>
              <a:gd name="connsiteY8" fmla="*/ 4109975 h 5774928"/>
              <a:gd name="connsiteX9" fmla="*/ 0 w 7632701"/>
              <a:gd name="connsiteY9" fmla="*/ 3487628 h 5774928"/>
              <a:gd name="connsiteX10" fmla="*/ 0 w 7632701"/>
              <a:gd name="connsiteY10" fmla="*/ 3241878 h 5774928"/>
              <a:gd name="connsiteX11" fmla="*/ 0 w 7632701"/>
              <a:gd name="connsiteY11" fmla="*/ 2832822 h 5774928"/>
              <a:gd name="connsiteX12" fmla="*/ 0 w 7632701"/>
              <a:gd name="connsiteY12" fmla="*/ 2526396 h 5774928"/>
              <a:gd name="connsiteX13" fmla="*/ 0 w 7632701"/>
              <a:gd name="connsiteY13" fmla="*/ 2418336 h 5774928"/>
              <a:gd name="connsiteX14" fmla="*/ 0 w 7632701"/>
              <a:gd name="connsiteY14" fmla="*/ 1591966 h 5774928"/>
              <a:gd name="connsiteX15" fmla="*/ 0 w 7632701"/>
              <a:gd name="connsiteY15" fmla="*/ 1182910 h 5774928"/>
              <a:gd name="connsiteX16" fmla="*/ 0 w 7632701"/>
              <a:gd name="connsiteY16" fmla="*/ 876483 h 5774928"/>
              <a:gd name="connsiteX17" fmla="*/ 0 w 7632701"/>
              <a:gd name="connsiteY17" fmla="*/ 768424 h 5774928"/>
              <a:gd name="connsiteX18" fmla="*/ 7632701 w 7632701"/>
              <a:gd name="connsiteY18" fmla="*/ 0 h 5774928"/>
              <a:gd name="connsiteX19" fmla="*/ 7632701 w 7632701"/>
              <a:gd name="connsiteY19" fmla="*/ 3341551 h 5774928"/>
              <a:gd name="connsiteX20" fmla="*/ 7632701 w 7632701"/>
              <a:gd name="connsiteY20" fmla="*/ 4991463 h 5774928"/>
              <a:gd name="connsiteX21" fmla="*/ 7632701 w 7632701"/>
              <a:gd name="connsiteY21" fmla="*/ 5006504 h 5774928"/>
              <a:gd name="connsiteX22" fmla="*/ 0 w 7632701"/>
              <a:gd name="connsiteY22" fmla="*/ 5774928 h 5774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7632701" h="5774928">
                <a:moveTo>
                  <a:pt x="0" y="5774928"/>
                </a:moveTo>
                <a:lnTo>
                  <a:pt x="0" y="5759887"/>
                </a:lnTo>
                <a:lnTo>
                  <a:pt x="0" y="5699537"/>
                </a:lnTo>
                <a:lnTo>
                  <a:pt x="0" y="5559808"/>
                </a:lnTo>
                <a:lnTo>
                  <a:pt x="0" y="5451748"/>
                </a:lnTo>
                <a:lnTo>
                  <a:pt x="0" y="5393110"/>
                </a:lnTo>
                <a:lnTo>
                  <a:pt x="0" y="5285049"/>
                </a:lnTo>
                <a:lnTo>
                  <a:pt x="0" y="5137540"/>
                </a:lnTo>
                <a:lnTo>
                  <a:pt x="0" y="4109975"/>
                </a:lnTo>
                <a:lnTo>
                  <a:pt x="0" y="3487628"/>
                </a:lnTo>
                <a:lnTo>
                  <a:pt x="0" y="3241878"/>
                </a:lnTo>
                <a:lnTo>
                  <a:pt x="0" y="2832822"/>
                </a:lnTo>
                <a:lnTo>
                  <a:pt x="0" y="2526396"/>
                </a:lnTo>
                <a:lnTo>
                  <a:pt x="0" y="2418336"/>
                </a:lnTo>
                <a:lnTo>
                  <a:pt x="0" y="1591966"/>
                </a:lnTo>
                <a:lnTo>
                  <a:pt x="0" y="1182910"/>
                </a:lnTo>
                <a:lnTo>
                  <a:pt x="0" y="876483"/>
                </a:lnTo>
                <a:lnTo>
                  <a:pt x="0" y="768424"/>
                </a:lnTo>
                <a:lnTo>
                  <a:pt x="7632701" y="0"/>
                </a:lnTo>
                <a:lnTo>
                  <a:pt x="7632701" y="3341551"/>
                </a:lnTo>
                <a:lnTo>
                  <a:pt x="7632701" y="4991463"/>
                </a:lnTo>
                <a:lnTo>
                  <a:pt x="7632701" y="5006504"/>
                </a:lnTo>
                <a:lnTo>
                  <a:pt x="0" y="5774928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0" name="Text Placeholder 61">
            <a:extLst>
              <a:ext uri="{FF2B5EF4-FFF2-40B4-BE49-F238E27FC236}">
                <a16:creationId xmlns:a16="http://schemas.microsoft.com/office/drawing/2014/main" id="{2D02F780-5912-428A-9BD7-0A3D8102FA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8999" y="589506"/>
            <a:ext cx="1216800" cy="12168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1" name="Text Placeholder 34">
            <a:extLst>
              <a:ext uri="{FF2B5EF4-FFF2-40B4-BE49-F238E27FC236}">
                <a16:creationId xmlns:a16="http://schemas.microsoft.com/office/drawing/2014/main" id="{F68C68D2-6AA1-4354-AC6D-4CF0689386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3725" y="1897317"/>
            <a:ext cx="3384550" cy="385034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32" name="Text Placeholder 34">
            <a:extLst>
              <a:ext uri="{FF2B5EF4-FFF2-40B4-BE49-F238E27FC236}">
                <a16:creationId xmlns:a16="http://schemas.microsoft.com/office/drawing/2014/main" id="{B2627D31-BA2B-49B5-A7EB-39B12E2328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89468" y="1897317"/>
            <a:ext cx="3335770" cy="385034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6277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87">
          <p15:clr>
            <a:srgbClr val="F26B43"/>
          </p15:clr>
        </p15:guide>
        <p15:guide id="2" pos="4906" userDrawn="1">
          <p15:clr>
            <a:srgbClr val="F26B43"/>
          </p15:clr>
        </p15:guide>
        <p15:guide id="3" pos="2774" userDrawn="1">
          <p15:clr>
            <a:srgbClr val="F26B43"/>
          </p15:clr>
        </p15:guide>
        <p15:guide id="4" orient="horz" pos="1185" userDrawn="1">
          <p15:clr>
            <a:srgbClr val="F26B43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// Bild ist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228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CCECD96-025F-4254-A650-7789F60826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4898"/>
          </a:xfrm>
          <a:prstGeom prst="rect">
            <a:avLst/>
          </a:prstGeom>
        </p:spPr>
      </p:pic>
      <p:sp>
        <p:nvSpPr>
          <p:cNvPr id="12" name="Freihandform: Form 14">
            <a:extLst>
              <a:ext uri="{FF2B5EF4-FFF2-40B4-BE49-F238E27FC236}">
                <a16:creationId xmlns:a16="http://schemas.microsoft.com/office/drawing/2014/main" id="{43E90D63-03AB-4F95-A0CD-C046E265DBDA}"/>
              </a:ext>
            </a:extLst>
          </p:cNvPr>
          <p:cNvSpPr/>
          <p:nvPr userDrawn="1"/>
        </p:nvSpPr>
        <p:spPr>
          <a:xfrm>
            <a:off x="-1" y="3392488"/>
            <a:ext cx="12203429" cy="3465512"/>
          </a:xfrm>
          <a:custGeom>
            <a:avLst/>
            <a:gdLst>
              <a:gd name="connsiteX0" fmla="*/ 12203429 w 12203429"/>
              <a:gd name="connsiteY0" fmla="*/ 0 h 3465512"/>
              <a:gd name="connsiteX1" fmla="*/ 12203429 w 12203429"/>
              <a:gd name="connsiteY1" fmla="*/ 537210 h 3465512"/>
              <a:gd name="connsiteX2" fmla="*/ 12203429 w 12203429"/>
              <a:gd name="connsiteY2" fmla="*/ 3465512 h 3465512"/>
              <a:gd name="connsiteX3" fmla="*/ 0 w 12203429"/>
              <a:gd name="connsiteY3" fmla="*/ 3465512 h 3465512"/>
              <a:gd name="connsiteX4" fmla="*/ 0 w 12203429"/>
              <a:gd name="connsiteY4" fmla="*/ 2438057 h 3465512"/>
              <a:gd name="connsiteX5" fmla="*/ 0 w 12203429"/>
              <a:gd name="connsiteY5" fmla="*/ 1900847 h 3465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03429" h="3465512">
                <a:moveTo>
                  <a:pt x="12203429" y="0"/>
                </a:moveTo>
                <a:lnTo>
                  <a:pt x="12203429" y="537210"/>
                </a:lnTo>
                <a:lnTo>
                  <a:pt x="12203429" y="3465512"/>
                </a:lnTo>
                <a:lnTo>
                  <a:pt x="0" y="3465512"/>
                </a:lnTo>
                <a:lnTo>
                  <a:pt x="0" y="2438057"/>
                </a:lnTo>
                <a:lnTo>
                  <a:pt x="0" y="1900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23E87A98-CC42-4FAA-ACC3-90AA4ECAB8ED}"/>
              </a:ext>
            </a:extLst>
          </p:cNvPr>
          <p:cNvSpPr/>
          <p:nvPr userDrawn="1"/>
        </p:nvSpPr>
        <p:spPr>
          <a:xfrm>
            <a:off x="8766524" y="4206239"/>
            <a:ext cx="3194306" cy="2648659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01BA83C3-FD58-4EB6-988A-9DE1D8D9518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784" y="6092936"/>
            <a:ext cx="2433209" cy="407523"/>
          </a:xfrm>
          <a:prstGeom prst="rect">
            <a:avLst/>
          </a:prstGeom>
        </p:spPr>
      </p:pic>
      <p:sp>
        <p:nvSpPr>
          <p:cNvPr id="15" name="Rechteck 9">
            <a:extLst>
              <a:ext uri="{FF2B5EF4-FFF2-40B4-BE49-F238E27FC236}">
                <a16:creationId xmlns:a16="http://schemas.microsoft.com/office/drawing/2014/main" id="{4F314B62-78C1-467E-935B-9DC461C1F902}"/>
              </a:ext>
            </a:extLst>
          </p:cNvPr>
          <p:cNvSpPr/>
          <p:nvPr userDrawn="1"/>
        </p:nvSpPr>
        <p:spPr>
          <a:xfrm>
            <a:off x="7878751" y="534492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Regular"/>
            </a:endParaRPr>
          </a:p>
          <a:p>
            <a:pPr lvl="0" defTabSz="914400">
              <a:defRPr/>
            </a:pPr>
            <a:r>
              <a:rPr lang="de-DE" sz="1600" kern="0" dirty="0">
                <a:solidFill>
                  <a:schemeClr val="bg1"/>
                </a:solidFill>
                <a:latin typeface="Arial Regular"/>
              </a:rPr>
              <a:t>Tel.: 08561 300 68 - 0</a:t>
            </a:r>
            <a:br>
              <a:rPr lang="de-DE" sz="1600" kern="0" dirty="0">
                <a:solidFill>
                  <a:schemeClr val="bg1"/>
                </a:solidFill>
                <a:latin typeface="Arial Regular"/>
              </a:rPr>
            </a:br>
            <a:r>
              <a:rPr lang="de-DE" sz="1600" kern="0" dirty="0">
                <a:solidFill>
                  <a:schemeClr val="bg1"/>
                </a:solidFill>
                <a:latin typeface="Arial Regular"/>
              </a:rPr>
              <a:t>E-Mail: </a:t>
            </a:r>
            <a:r>
              <a:rPr lang="de-DE" sz="1600" kern="0" dirty="0" err="1">
                <a:solidFill>
                  <a:schemeClr val="bg1"/>
                </a:solidFill>
                <a:latin typeface="Arial Regular"/>
              </a:rPr>
              <a:t>info@nextfarming.de</a:t>
            </a:r>
            <a:endParaRPr lang="de-DE" sz="1600" kern="0" dirty="0">
              <a:solidFill>
                <a:schemeClr val="bg1"/>
              </a:solidFill>
              <a:latin typeface="Arial Regular"/>
            </a:endParaRPr>
          </a:p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Regular"/>
            </a:endParaRPr>
          </a:p>
        </p:txBody>
      </p:sp>
      <p:sp>
        <p:nvSpPr>
          <p:cNvPr id="17" name="Rechteck 9">
            <a:extLst>
              <a:ext uri="{FF2B5EF4-FFF2-40B4-BE49-F238E27FC236}">
                <a16:creationId xmlns:a16="http://schemas.microsoft.com/office/drawing/2014/main" id="{24D6C36E-70EA-4A57-873C-7F5B15BB75FE}"/>
              </a:ext>
            </a:extLst>
          </p:cNvPr>
          <p:cNvSpPr/>
          <p:nvPr userDrawn="1"/>
        </p:nvSpPr>
        <p:spPr>
          <a:xfrm>
            <a:off x="7878751" y="467349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r>
              <a:rPr lang="de-DE" sz="1600" kern="0" dirty="0">
                <a:solidFill>
                  <a:schemeClr val="bg1"/>
                </a:solidFill>
                <a:latin typeface="Arial Regular"/>
              </a:rPr>
              <a:t>Rennbahnstraße 9</a:t>
            </a:r>
            <a:br>
              <a:rPr lang="de-DE" sz="1600" kern="0" dirty="0">
                <a:solidFill>
                  <a:schemeClr val="bg1"/>
                </a:solidFill>
                <a:latin typeface="Arial Regular"/>
              </a:rPr>
            </a:br>
            <a:r>
              <a:rPr lang="de-DE" sz="1600" kern="0" dirty="0">
                <a:solidFill>
                  <a:schemeClr val="bg1"/>
                </a:solidFill>
                <a:latin typeface="Arial Regular"/>
              </a:rPr>
              <a:t>84347 Pfarrkirchen</a:t>
            </a:r>
          </a:p>
        </p:txBody>
      </p:sp>
      <p:sp>
        <p:nvSpPr>
          <p:cNvPr id="18" name="Rechteck 9">
            <a:extLst>
              <a:ext uri="{FF2B5EF4-FFF2-40B4-BE49-F238E27FC236}">
                <a16:creationId xmlns:a16="http://schemas.microsoft.com/office/drawing/2014/main" id="{826C7656-9D82-4B14-992A-49BBA6F819EC}"/>
              </a:ext>
            </a:extLst>
          </p:cNvPr>
          <p:cNvSpPr/>
          <p:nvPr userDrawn="1"/>
        </p:nvSpPr>
        <p:spPr>
          <a:xfrm>
            <a:off x="7890780" y="589910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Regular"/>
            </a:endParaRPr>
          </a:p>
          <a:p>
            <a:pPr lvl="0" defTabSz="914400">
              <a:defRPr/>
            </a:pPr>
            <a:r>
              <a:rPr lang="de-DE" sz="1600" kern="0" dirty="0" err="1">
                <a:solidFill>
                  <a:schemeClr val="accent1"/>
                </a:solidFill>
                <a:latin typeface="Arial Regular"/>
              </a:rPr>
              <a:t>nextfarming.de</a:t>
            </a:r>
            <a:endParaRPr lang="de-DE" sz="1600" kern="0" dirty="0">
              <a:solidFill>
                <a:schemeClr val="accent1"/>
              </a:solidFill>
              <a:latin typeface="Arial Regular"/>
            </a:endParaRPr>
          </a:p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Regular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9224588" cy="1846659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br>
              <a:rPr lang="de-DE" dirty="0"/>
            </a:br>
            <a:r>
              <a:rPr lang="de-DE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2401538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 userDrawn="1">
          <p15:clr>
            <a:srgbClr val="A4A3A4"/>
          </p15:clr>
        </p15:guide>
        <p15:guide id="3" orient="horz" pos="754" userDrawn="1">
          <p15:clr>
            <a:srgbClr val="A4A3A4"/>
          </p15:clr>
        </p15:guide>
        <p15:guide id="4" orient="horz" pos="640" userDrawn="1">
          <p15:clr>
            <a:srgbClr val="A4A3A4"/>
          </p15:clr>
        </p15:guide>
        <p15:guide id="5" orient="horz" pos="21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// Bildplatzhalt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584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09D9D87E-83CD-4F57-91C0-AB038C6D26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415088" cy="6858000"/>
          </a:xfrm>
          <a:custGeom>
            <a:avLst/>
            <a:gdLst>
              <a:gd name="connsiteX0" fmla="*/ 0 w 9415088"/>
              <a:gd name="connsiteY0" fmla="*/ 0 h 6858000"/>
              <a:gd name="connsiteX1" fmla="*/ 9415088 w 9415088"/>
              <a:gd name="connsiteY1" fmla="*/ 0 h 6858000"/>
              <a:gd name="connsiteX2" fmla="*/ 6217151 w 9415088"/>
              <a:gd name="connsiteY2" fmla="*/ 6858000 h 6858000"/>
              <a:gd name="connsiteX3" fmla="*/ 0 w 941508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15088" h="6858000">
                <a:moveTo>
                  <a:pt x="0" y="0"/>
                </a:moveTo>
                <a:lnTo>
                  <a:pt x="9415088" y="0"/>
                </a:lnTo>
                <a:lnTo>
                  <a:pt x="621715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0" name="Freeform 16">
            <a:extLst>
              <a:ext uri="{FF2B5EF4-FFF2-40B4-BE49-F238E27FC236}">
                <a16:creationId xmlns:a16="http://schemas.microsoft.com/office/drawing/2014/main" id="{39A11E70-DAD7-40D1-B416-A9A3AE091DAF}"/>
              </a:ext>
            </a:extLst>
          </p:cNvPr>
          <p:cNvSpPr/>
          <p:nvPr userDrawn="1"/>
        </p:nvSpPr>
        <p:spPr>
          <a:xfrm>
            <a:off x="8766524" y="4206239"/>
            <a:ext cx="3194306" cy="2648659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tx1"/>
              </a:solidFill>
            </a:endParaRPr>
          </a:p>
        </p:txBody>
      </p:sp>
      <p:sp>
        <p:nvSpPr>
          <p:cNvPr id="21" name="Rechteck 9">
            <a:extLst>
              <a:ext uri="{FF2B5EF4-FFF2-40B4-BE49-F238E27FC236}">
                <a16:creationId xmlns:a16="http://schemas.microsoft.com/office/drawing/2014/main" id="{B5143025-2493-4286-B28D-5D316F4CC15F}"/>
              </a:ext>
            </a:extLst>
          </p:cNvPr>
          <p:cNvSpPr/>
          <p:nvPr userDrawn="1"/>
        </p:nvSpPr>
        <p:spPr>
          <a:xfrm>
            <a:off x="7878751" y="534492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Regular"/>
            </a:endParaRPr>
          </a:p>
          <a:p>
            <a:pPr lvl="0" defTabSz="914400">
              <a:defRPr/>
            </a:pPr>
            <a:r>
              <a:rPr lang="de-DE" sz="1600" kern="0" dirty="0">
                <a:solidFill>
                  <a:schemeClr val="tx1"/>
                </a:solidFill>
                <a:latin typeface="Arial Regular"/>
              </a:rPr>
              <a:t>Tel.: 08561 300 68 - 0</a:t>
            </a:r>
            <a:br>
              <a:rPr lang="de-DE" sz="1600" kern="0" dirty="0">
                <a:solidFill>
                  <a:schemeClr val="tx1"/>
                </a:solidFill>
                <a:latin typeface="Arial Regular"/>
              </a:rPr>
            </a:br>
            <a:r>
              <a:rPr lang="de-DE" sz="1600" kern="0" dirty="0">
                <a:solidFill>
                  <a:schemeClr val="tx1"/>
                </a:solidFill>
                <a:latin typeface="Arial Regular"/>
              </a:rPr>
              <a:t>E-Mail: </a:t>
            </a:r>
            <a:r>
              <a:rPr lang="de-DE" sz="1600" kern="0" dirty="0" err="1">
                <a:solidFill>
                  <a:schemeClr val="tx1"/>
                </a:solidFill>
                <a:latin typeface="Arial Regular"/>
              </a:rPr>
              <a:t>info@nextfarming.de</a:t>
            </a:r>
            <a:endParaRPr lang="de-DE" sz="1600" kern="0" dirty="0">
              <a:solidFill>
                <a:schemeClr val="tx1"/>
              </a:solidFill>
              <a:latin typeface="Arial Regular"/>
            </a:endParaRPr>
          </a:p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Regular"/>
            </a:endParaRPr>
          </a:p>
        </p:txBody>
      </p:sp>
      <p:sp>
        <p:nvSpPr>
          <p:cNvPr id="22" name="Rechteck 9">
            <a:extLst>
              <a:ext uri="{FF2B5EF4-FFF2-40B4-BE49-F238E27FC236}">
                <a16:creationId xmlns:a16="http://schemas.microsoft.com/office/drawing/2014/main" id="{73C0424B-5F9D-49C6-9DFD-78AE93DFFC19}"/>
              </a:ext>
            </a:extLst>
          </p:cNvPr>
          <p:cNvSpPr/>
          <p:nvPr userDrawn="1"/>
        </p:nvSpPr>
        <p:spPr>
          <a:xfrm>
            <a:off x="7878751" y="467349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r>
              <a:rPr lang="de-DE" sz="1600" kern="0" dirty="0">
                <a:solidFill>
                  <a:schemeClr val="tx1"/>
                </a:solidFill>
                <a:latin typeface="Arial Regular"/>
              </a:rPr>
              <a:t>Rennbahnstraße 9</a:t>
            </a:r>
            <a:br>
              <a:rPr lang="de-DE" sz="1600" kern="0" dirty="0">
                <a:solidFill>
                  <a:schemeClr val="tx1"/>
                </a:solidFill>
                <a:latin typeface="Arial Regular"/>
              </a:rPr>
            </a:br>
            <a:r>
              <a:rPr lang="de-DE" sz="1600" kern="0" dirty="0">
                <a:solidFill>
                  <a:schemeClr val="tx1"/>
                </a:solidFill>
                <a:latin typeface="Arial Regular"/>
              </a:rPr>
              <a:t>84347 Pfarrkirchen</a:t>
            </a:r>
          </a:p>
        </p:txBody>
      </p:sp>
      <p:sp>
        <p:nvSpPr>
          <p:cNvPr id="23" name="Rechteck 9">
            <a:extLst>
              <a:ext uri="{FF2B5EF4-FFF2-40B4-BE49-F238E27FC236}">
                <a16:creationId xmlns:a16="http://schemas.microsoft.com/office/drawing/2014/main" id="{6F212A99-82CE-43A9-BBB0-69DA270EB569}"/>
              </a:ext>
            </a:extLst>
          </p:cNvPr>
          <p:cNvSpPr/>
          <p:nvPr userDrawn="1"/>
        </p:nvSpPr>
        <p:spPr>
          <a:xfrm>
            <a:off x="7890780" y="589910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Regular"/>
            </a:endParaRPr>
          </a:p>
          <a:p>
            <a:pPr lvl="0" defTabSz="914400">
              <a:defRPr/>
            </a:pPr>
            <a:r>
              <a:rPr lang="de-DE" sz="1600" kern="0" dirty="0" err="1">
                <a:solidFill>
                  <a:schemeClr val="accent1"/>
                </a:solidFill>
                <a:latin typeface="Arial Regular"/>
              </a:rPr>
              <a:t>nextfarming.de</a:t>
            </a:r>
            <a:endParaRPr lang="de-DE" sz="1600" kern="0" dirty="0">
              <a:solidFill>
                <a:schemeClr val="accent1"/>
              </a:solidFill>
              <a:latin typeface="Arial Regular"/>
            </a:endParaRPr>
          </a:p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Regular"/>
            </a:endParaRPr>
          </a:p>
        </p:txBody>
      </p:sp>
      <p:pic>
        <p:nvPicPr>
          <p:cNvPr id="24" name="Grafik 7">
            <a:extLst>
              <a:ext uri="{FF2B5EF4-FFF2-40B4-BE49-F238E27FC236}">
                <a16:creationId xmlns:a16="http://schemas.microsoft.com/office/drawing/2014/main" id="{9E1E5A2C-E031-4C09-A410-64D0BD36410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7663" y="4014254"/>
            <a:ext cx="3349625" cy="561008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3920499"/>
            <a:ext cx="5814432" cy="1846659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br>
              <a:rPr lang="de-DE" dirty="0"/>
            </a:br>
            <a:r>
              <a:rPr lang="de-DE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1448335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 userDrawn="1">
          <p15:clr>
            <a:srgbClr val="A4A3A4"/>
          </p15:clr>
        </p15:guide>
        <p15:guide id="3" orient="horz" pos="754" userDrawn="1">
          <p15:clr>
            <a:srgbClr val="A4A3A4"/>
          </p15:clr>
        </p15:guide>
        <p15:guide id="4" orient="horz" pos="640" userDrawn="1">
          <p15:clr>
            <a:srgbClr val="A4A3A4"/>
          </p15:clr>
        </p15:guide>
        <p15:guide id="5" orient="horz" pos="21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32608B-3578-4508-935F-E7D3A153A5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2192000" cy="6858001"/>
          </a:xfrm>
          <a:custGeom>
            <a:avLst/>
            <a:gdLst>
              <a:gd name="connsiteX0" fmla="*/ 0 w 18288000"/>
              <a:gd name="connsiteY0" fmla="*/ 0 h 10287001"/>
              <a:gd name="connsiteX1" fmla="*/ 18288000 w 18288000"/>
              <a:gd name="connsiteY1" fmla="*/ 0 h 10287001"/>
              <a:gd name="connsiteX2" fmla="*/ 18288000 w 18288000"/>
              <a:gd name="connsiteY2" fmla="*/ 10287001 h 10287001"/>
              <a:gd name="connsiteX3" fmla="*/ 0 w 18288000"/>
              <a:gd name="connsiteY3" fmla="*/ 10287001 h 10287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288000" h="10287001">
                <a:moveTo>
                  <a:pt x="0" y="0"/>
                </a:moveTo>
                <a:lnTo>
                  <a:pt x="18288000" y="0"/>
                </a:lnTo>
                <a:lnTo>
                  <a:pt x="18288000" y="10287001"/>
                </a:lnTo>
                <a:lnTo>
                  <a:pt x="0" y="10287001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B05BB41-D3AD-564D-B399-5B341E1DF8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90792" y="463588"/>
            <a:ext cx="1014591" cy="168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1871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CHWARZ links // Bildplatzhal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5464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A7EB04B2-B630-41B2-AFB3-553D6397A80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22241" y="0"/>
            <a:ext cx="6969759" cy="6858000"/>
          </a:xfrm>
          <a:custGeom>
            <a:avLst/>
            <a:gdLst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706883 w 6969759"/>
              <a:gd name="connsiteY4" fmla="*/ 1 h 6858000"/>
              <a:gd name="connsiteX5" fmla="*/ 833898 w 6969759"/>
              <a:gd name="connsiteY5" fmla="*/ 1 h 6858000"/>
              <a:gd name="connsiteX6" fmla="*/ 833897 w 6969759"/>
              <a:gd name="connsiteY6" fmla="*/ 4 h 6858000"/>
              <a:gd name="connsiteX7" fmla="*/ 0 w 6969759"/>
              <a:gd name="connsiteY7" fmla="*/ 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69759" h="6858000">
                <a:moveTo>
                  <a:pt x="0" y="0"/>
                </a:moveTo>
                <a:lnTo>
                  <a:pt x="6969759" y="0"/>
                </a:lnTo>
                <a:lnTo>
                  <a:pt x="6969759" y="6858000"/>
                </a:lnTo>
                <a:lnTo>
                  <a:pt x="508945" y="6858000"/>
                </a:lnTo>
                <a:lnTo>
                  <a:pt x="3706883" y="1"/>
                </a:lnTo>
                <a:lnTo>
                  <a:pt x="833898" y="1"/>
                </a:lnTo>
                <a:lnTo>
                  <a:pt x="833897" y="4"/>
                </a:ln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7" name="Freeform 20">
            <a:extLst>
              <a:ext uri="{FF2B5EF4-FFF2-40B4-BE49-F238E27FC236}">
                <a16:creationId xmlns:a16="http://schemas.microsoft.com/office/drawing/2014/main" id="{20143032-539B-475F-916F-D6751F8BCF55}"/>
              </a:ext>
            </a:extLst>
          </p:cNvPr>
          <p:cNvSpPr/>
          <p:nvPr/>
        </p:nvSpPr>
        <p:spPr>
          <a:xfrm>
            <a:off x="23446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F7F2D2A-67E7-48AB-9757-E47BE416C04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73" y="5869536"/>
            <a:ext cx="3175725" cy="531882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6050183" cy="984885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2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652838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graphicFrame>
        <p:nvGraphicFramePr>
          <p:cNvPr id="12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27548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84" imgH="385" progId="TCLayout.ActiveDocument.1">
                  <p:embed/>
                </p:oleObj>
              </mc:Choice>
              <mc:Fallback>
                <p:oleObj name="think-cell Folie" r:id="rId9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Freeform 20">
            <a:extLst>
              <a:ext uri="{FF2B5EF4-FFF2-40B4-BE49-F238E27FC236}">
                <a16:creationId xmlns:a16="http://schemas.microsoft.com/office/drawing/2014/main" id="{20143032-539B-475F-916F-D6751F8BCF55}"/>
              </a:ext>
            </a:extLst>
          </p:cNvPr>
          <p:cNvSpPr/>
          <p:nvPr userDrawn="1"/>
        </p:nvSpPr>
        <p:spPr>
          <a:xfrm>
            <a:off x="23446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AF7F2D2A-67E7-48AB-9757-E47BE416C04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73" y="5869536"/>
            <a:ext cx="3175725" cy="53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548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551" userDrawn="1">
          <p15:clr>
            <a:srgbClr val="F26B43"/>
          </p15:clr>
        </p15:guide>
        <p15:guide id="9" pos="483" userDrawn="1">
          <p15:clr>
            <a:srgbClr val="A4A3A4"/>
          </p15:clr>
        </p15:guide>
        <p15:guide id="10" orient="horz" pos="754" userDrawn="1">
          <p15:clr>
            <a:srgbClr val="A4A3A4"/>
          </p15:clr>
        </p15:guide>
        <p15:guide id="11" orient="horz" pos="640" userDrawn="1">
          <p15:clr>
            <a:srgbClr val="A4A3A4"/>
          </p15:clr>
        </p15:guide>
        <p15:guide id="12" orient="horz" pos="210" userDrawn="1">
          <p15:clr>
            <a:srgbClr val="A4A3A4"/>
          </p15:clr>
        </p15:guide>
        <p15:guide id="13" orient="horz" pos="4065" userDrawn="1">
          <p15:clr>
            <a:srgbClr val="A4A3A4"/>
          </p15:clr>
        </p15:guide>
        <p15:guide id="14" pos="7197" userDrawn="1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GRÜN links // Bild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7258EA99-7DAC-3E40-9C09-6999BF263A6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22241" y="0"/>
            <a:ext cx="6969759" cy="6858000"/>
          </a:xfrm>
          <a:custGeom>
            <a:avLst/>
            <a:gdLst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706883 w 6969759"/>
              <a:gd name="connsiteY4" fmla="*/ 1 h 6858000"/>
              <a:gd name="connsiteX5" fmla="*/ 833898 w 6969759"/>
              <a:gd name="connsiteY5" fmla="*/ 1 h 6858000"/>
              <a:gd name="connsiteX6" fmla="*/ 833897 w 6969759"/>
              <a:gd name="connsiteY6" fmla="*/ 4 h 6858000"/>
              <a:gd name="connsiteX7" fmla="*/ 0 w 6969759"/>
              <a:gd name="connsiteY7" fmla="*/ 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69759" h="6858000">
                <a:moveTo>
                  <a:pt x="0" y="0"/>
                </a:moveTo>
                <a:lnTo>
                  <a:pt x="6969759" y="0"/>
                </a:lnTo>
                <a:lnTo>
                  <a:pt x="6969759" y="6858000"/>
                </a:lnTo>
                <a:lnTo>
                  <a:pt x="508945" y="6858000"/>
                </a:lnTo>
                <a:lnTo>
                  <a:pt x="3706883" y="1"/>
                </a:lnTo>
                <a:lnTo>
                  <a:pt x="833898" y="1"/>
                </a:lnTo>
                <a:lnTo>
                  <a:pt x="833897" y="4"/>
                </a:ln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9574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Freihandform: Form 23">
            <a:extLst>
              <a:ext uri="{FF2B5EF4-FFF2-40B4-BE49-F238E27FC236}">
                <a16:creationId xmlns:a16="http://schemas.microsoft.com/office/drawing/2014/main" id="{D17C017F-76C8-4520-8E7D-038F187A2379}"/>
              </a:ext>
            </a:extLst>
          </p:cNvPr>
          <p:cNvSpPr/>
          <p:nvPr/>
        </p:nvSpPr>
        <p:spPr>
          <a:xfrm rot="5400000" flipH="1">
            <a:off x="1035562" y="-1035561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277EBB7D-F249-4E77-9B9C-BD9DBD49E7EB}"/>
              </a:ext>
            </a:extLst>
          </p:cNvPr>
          <p:cNvSpPr/>
          <p:nvPr/>
        </p:nvSpPr>
        <p:spPr>
          <a:xfrm>
            <a:off x="23446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6050183" cy="984885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2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652838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91C20983-4BB4-481B-8202-F63F178E34B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73" y="5869536"/>
            <a:ext cx="3175725" cy="531882"/>
          </a:xfrm>
          <a:prstGeom prst="rect">
            <a:avLst/>
          </a:prstGeom>
        </p:spPr>
      </p:pic>
      <p:graphicFrame>
        <p:nvGraphicFramePr>
          <p:cNvPr id="12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02581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84" imgH="385" progId="TCLayout.ActiveDocument.1">
                  <p:embed/>
                </p:oleObj>
              </mc:Choice>
              <mc:Fallback>
                <p:oleObj name="think-cell Folie" r:id="rId9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Freihandform: Form 23">
            <a:extLst>
              <a:ext uri="{FF2B5EF4-FFF2-40B4-BE49-F238E27FC236}">
                <a16:creationId xmlns:a16="http://schemas.microsoft.com/office/drawing/2014/main" id="{D17C017F-76C8-4520-8E7D-038F187A2379}"/>
              </a:ext>
            </a:extLst>
          </p:cNvPr>
          <p:cNvSpPr/>
          <p:nvPr userDrawn="1"/>
        </p:nvSpPr>
        <p:spPr>
          <a:xfrm rot="5400000" flipH="1">
            <a:off x="1035562" y="-1035561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Freeform 18">
            <a:extLst>
              <a:ext uri="{FF2B5EF4-FFF2-40B4-BE49-F238E27FC236}">
                <a16:creationId xmlns:a16="http://schemas.microsoft.com/office/drawing/2014/main" id="{277EBB7D-F249-4E77-9B9C-BD9DBD49E7EB}"/>
              </a:ext>
            </a:extLst>
          </p:cNvPr>
          <p:cNvSpPr/>
          <p:nvPr userDrawn="1"/>
        </p:nvSpPr>
        <p:spPr>
          <a:xfrm>
            <a:off x="23446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9" name="Grafik 7">
            <a:extLst>
              <a:ext uri="{FF2B5EF4-FFF2-40B4-BE49-F238E27FC236}">
                <a16:creationId xmlns:a16="http://schemas.microsoft.com/office/drawing/2014/main" id="{91C20983-4BB4-481B-8202-F63F178E34B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73" y="5869536"/>
            <a:ext cx="3175725" cy="53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849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551" userDrawn="1">
          <p15:clr>
            <a:srgbClr val="F26B43"/>
          </p15:clr>
        </p15:guide>
        <p15:guide id="9" pos="483" userDrawn="1">
          <p15:clr>
            <a:srgbClr val="A4A3A4"/>
          </p15:clr>
        </p15:guide>
        <p15:guide id="10" orient="horz" pos="754" userDrawn="1">
          <p15:clr>
            <a:srgbClr val="A4A3A4"/>
          </p15:clr>
        </p15:guide>
        <p15:guide id="11" orient="horz" pos="640" userDrawn="1">
          <p15:clr>
            <a:srgbClr val="A4A3A4"/>
          </p15:clr>
        </p15:guide>
        <p15:guide id="12" orient="horz" pos="210" userDrawn="1">
          <p15:clr>
            <a:srgbClr val="A4A3A4"/>
          </p15:clr>
        </p15:guide>
        <p15:guide id="13" orient="horz" pos="4065" userDrawn="1">
          <p15:clr>
            <a:srgbClr val="A4A3A4"/>
          </p15:clr>
        </p15:guide>
        <p15:guide id="14" pos="7197" userDrawn="1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GRÜN links // Bild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8907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ADA371A-43BB-4A0E-AC24-3821A653ADB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06475" y="-1"/>
            <a:ext cx="8189789" cy="6858001"/>
          </a:xfrm>
          <a:prstGeom prst="rect">
            <a:avLst/>
          </a:prstGeom>
        </p:spPr>
      </p:pic>
      <p:sp>
        <p:nvSpPr>
          <p:cNvPr id="6" name="Freihandform: Form 23">
            <a:extLst>
              <a:ext uri="{FF2B5EF4-FFF2-40B4-BE49-F238E27FC236}">
                <a16:creationId xmlns:a16="http://schemas.microsoft.com/office/drawing/2014/main" id="{D17C017F-76C8-4520-8E7D-038F187A2379}"/>
              </a:ext>
            </a:extLst>
          </p:cNvPr>
          <p:cNvSpPr/>
          <p:nvPr/>
        </p:nvSpPr>
        <p:spPr>
          <a:xfrm rot="5400000" flipH="1">
            <a:off x="1035562" y="-1035561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277EBB7D-F249-4E77-9B9C-BD9DBD49E7EB}"/>
              </a:ext>
            </a:extLst>
          </p:cNvPr>
          <p:cNvSpPr/>
          <p:nvPr/>
        </p:nvSpPr>
        <p:spPr>
          <a:xfrm>
            <a:off x="23446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6050183" cy="984885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2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652838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91C20983-4BB4-481B-8202-F63F178E34B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73" y="5869536"/>
            <a:ext cx="3175725" cy="531882"/>
          </a:xfrm>
          <a:prstGeom prst="rect">
            <a:avLst/>
          </a:prstGeom>
        </p:spPr>
      </p:pic>
      <p:graphicFrame>
        <p:nvGraphicFramePr>
          <p:cNvPr id="15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07112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84" imgH="385" progId="TCLayout.ActiveDocument.1">
                  <p:embed/>
                </p:oleObj>
              </mc:Choice>
              <mc:Fallback>
                <p:oleObj name="think-cell Folie" r:id="rId10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Picture 11">
            <a:extLst>
              <a:ext uri="{FF2B5EF4-FFF2-40B4-BE49-F238E27FC236}">
                <a16:creationId xmlns:a16="http://schemas.microsoft.com/office/drawing/2014/main" id="{7ADA371A-43BB-4A0E-AC24-3821A653AD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06475" y="-1"/>
            <a:ext cx="8189789" cy="6858001"/>
          </a:xfrm>
          <a:prstGeom prst="rect">
            <a:avLst/>
          </a:prstGeom>
        </p:spPr>
      </p:pic>
      <p:sp>
        <p:nvSpPr>
          <p:cNvPr id="18" name="Freihandform: Form 23">
            <a:extLst>
              <a:ext uri="{FF2B5EF4-FFF2-40B4-BE49-F238E27FC236}">
                <a16:creationId xmlns:a16="http://schemas.microsoft.com/office/drawing/2014/main" id="{D17C017F-76C8-4520-8E7D-038F187A2379}"/>
              </a:ext>
            </a:extLst>
          </p:cNvPr>
          <p:cNvSpPr/>
          <p:nvPr userDrawn="1"/>
        </p:nvSpPr>
        <p:spPr>
          <a:xfrm rot="5400000" flipH="1">
            <a:off x="1035562" y="-1035561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277EBB7D-F249-4E77-9B9C-BD9DBD49E7EB}"/>
              </a:ext>
            </a:extLst>
          </p:cNvPr>
          <p:cNvSpPr/>
          <p:nvPr userDrawn="1"/>
        </p:nvSpPr>
        <p:spPr>
          <a:xfrm>
            <a:off x="23446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0" name="Grafik 7">
            <a:extLst>
              <a:ext uri="{FF2B5EF4-FFF2-40B4-BE49-F238E27FC236}">
                <a16:creationId xmlns:a16="http://schemas.microsoft.com/office/drawing/2014/main" id="{91C20983-4BB4-481B-8202-F63F178E34B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73" y="5869536"/>
            <a:ext cx="3175725" cy="53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083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551" userDrawn="1">
          <p15:clr>
            <a:srgbClr val="F26B43"/>
          </p15:clr>
        </p15:guide>
        <p15:guide id="9" pos="483" userDrawn="1">
          <p15:clr>
            <a:srgbClr val="A4A3A4"/>
          </p15:clr>
        </p15:guide>
        <p15:guide id="10" orient="horz" pos="754" userDrawn="1">
          <p15:clr>
            <a:srgbClr val="A4A3A4"/>
          </p15:clr>
        </p15:guide>
        <p15:guide id="11" orient="horz" pos="640" userDrawn="1">
          <p15:clr>
            <a:srgbClr val="A4A3A4"/>
          </p15:clr>
        </p15:guide>
        <p15:guide id="12" orient="horz" pos="210" userDrawn="1">
          <p15:clr>
            <a:srgbClr val="A4A3A4"/>
          </p15:clr>
        </p15:guide>
        <p15:guide id="13" orient="horz" pos="4065" userDrawn="1">
          <p15:clr>
            <a:srgbClr val="A4A3A4"/>
          </p15:clr>
        </p15:guide>
        <p15:guide id="14" pos="7197" userDrawn="1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CHWARZ // Bildplatzhal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4806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9C8FAAA3-C206-4AB6-B5E7-12A5FFBDB57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5286826"/>
          </a:xfrm>
          <a:custGeom>
            <a:avLst/>
            <a:gdLst>
              <a:gd name="connsiteX0" fmla="*/ 0 w 12192000"/>
              <a:gd name="connsiteY0" fmla="*/ 0 h 5286826"/>
              <a:gd name="connsiteX1" fmla="*/ 12192000 w 12192000"/>
              <a:gd name="connsiteY1" fmla="*/ 0 h 5286826"/>
              <a:gd name="connsiteX2" fmla="*/ 12192000 w 12192000"/>
              <a:gd name="connsiteY2" fmla="*/ 4110680 h 5286826"/>
              <a:gd name="connsiteX3" fmla="*/ 0 w 12192000"/>
              <a:gd name="connsiteY3" fmla="*/ 5286826 h 5286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86826">
                <a:moveTo>
                  <a:pt x="0" y="0"/>
                </a:moveTo>
                <a:lnTo>
                  <a:pt x="12192000" y="0"/>
                </a:lnTo>
                <a:lnTo>
                  <a:pt x="12192000" y="4110680"/>
                </a:lnTo>
                <a:lnTo>
                  <a:pt x="0" y="528682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1587030"/>
            <a:ext cx="7856911" cy="1477328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375890"/>
            <a:ext cx="9212849" cy="984885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32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3CC68A23-E418-487E-BB61-DBF9AB5D5585}"/>
              </a:ext>
            </a:extLst>
          </p:cNvPr>
          <p:cNvSpPr/>
          <p:nvPr/>
        </p:nvSpPr>
        <p:spPr>
          <a:xfrm>
            <a:off x="9413269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graphicFrame>
        <p:nvGraphicFramePr>
          <p:cNvPr id="12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42517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8">
            <a:extLst>
              <a:ext uri="{FF2B5EF4-FFF2-40B4-BE49-F238E27FC236}">
                <a16:creationId xmlns:a16="http://schemas.microsoft.com/office/drawing/2014/main" id="{3CC68A23-E418-487E-BB61-DBF9AB5D5585}"/>
              </a:ext>
            </a:extLst>
          </p:cNvPr>
          <p:cNvSpPr/>
          <p:nvPr userDrawn="1"/>
        </p:nvSpPr>
        <p:spPr>
          <a:xfrm>
            <a:off x="9413269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437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9" pos="483" userDrawn="1">
          <p15:clr>
            <a:srgbClr val="A4A3A4"/>
          </p15:clr>
        </p15:guide>
        <p15:guide id="10" orient="horz" pos="754" userDrawn="1">
          <p15:clr>
            <a:srgbClr val="A4A3A4"/>
          </p15:clr>
        </p15:guide>
        <p15:guide id="11" orient="horz" pos="640" userDrawn="1">
          <p15:clr>
            <a:srgbClr val="A4A3A4"/>
          </p15:clr>
        </p15:guide>
        <p15:guide id="12" orient="horz" pos="210" userDrawn="1">
          <p15:clr>
            <a:srgbClr val="A4A3A4"/>
          </p15:clr>
        </p15:guide>
        <p15:guide id="13" pos="7197" userDrawn="1">
          <p15:clr>
            <a:srgbClr val="A4A3A4"/>
          </p15:clr>
        </p15:guide>
        <p15:guide id="14" orient="horz" pos="4065" userDrawn="1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// Bildplatzhal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869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Picture Placeholder 17">
            <a:extLst>
              <a:ext uri="{FF2B5EF4-FFF2-40B4-BE49-F238E27FC236}">
                <a16:creationId xmlns:a16="http://schemas.microsoft.com/office/drawing/2014/main" id="{8BBD763D-9831-4A19-A5FB-7D047CE374B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5286826"/>
          </a:xfrm>
          <a:custGeom>
            <a:avLst/>
            <a:gdLst>
              <a:gd name="connsiteX0" fmla="*/ 0 w 12192000"/>
              <a:gd name="connsiteY0" fmla="*/ 0 h 5286826"/>
              <a:gd name="connsiteX1" fmla="*/ 12192000 w 12192000"/>
              <a:gd name="connsiteY1" fmla="*/ 0 h 5286826"/>
              <a:gd name="connsiteX2" fmla="*/ 12192000 w 12192000"/>
              <a:gd name="connsiteY2" fmla="*/ 4110680 h 5286826"/>
              <a:gd name="connsiteX3" fmla="*/ 0 w 12192000"/>
              <a:gd name="connsiteY3" fmla="*/ 5286826 h 5286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86826">
                <a:moveTo>
                  <a:pt x="0" y="0"/>
                </a:moveTo>
                <a:lnTo>
                  <a:pt x="12192000" y="0"/>
                </a:lnTo>
                <a:lnTo>
                  <a:pt x="12192000" y="4110680"/>
                </a:lnTo>
                <a:lnTo>
                  <a:pt x="0" y="528682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pSp>
        <p:nvGrpSpPr>
          <p:cNvPr id="19" name="Group 11">
            <a:extLst>
              <a:ext uri="{FF2B5EF4-FFF2-40B4-BE49-F238E27FC236}">
                <a16:creationId xmlns:a16="http://schemas.microsoft.com/office/drawing/2014/main" id="{DD0B2458-7347-4F27-A78C-530CE66DB127}"/>
              </a:ext>
            </a:extLst>
          </p:cNvPr>
          <p:cNvGrpSpPr/>
          <p:nvPr userDrawn="1"/>
        </p:nvGrpSpPr>
        <p:grpSpPr>
          <a:xfrm>
            <a:off x="1" y="4180551"/>
            <a:ext cx="12192000" cy="2084670"/>
            <a:chOff x="-14320" y="4773330"/>
            <a:chExt cx="12206319" cy="2084670"/>
          </a:xfrm>
          <a:solidFill>
            <a:schemeClr val="tx2"/>
          </a:solidFill>
        </p:grpSpPr>
        <p:sp>
          <p:nvSpPr>
            <p:cNvPr id="20" name="Freihandform: Form 36">
              <a:extLst>
                <a:ext uri="{FF2B5EF4-FFF2-40B4-BE49-F238E27FC236}">
                  <a16:creationId xmlns:a16="http://schemas.microsoft.com/office/drawing/2014/main" id="{A4428FEA-6C26-4852-A3E9-8FF018FA60FA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Freihandform: Form 36">
              <a:extLst>
                <a:ext uri="{FF2B5EF4-FFF2-40B4-BE49-F238E27FC236}">
                  <a16:creationId xmlns:a16="http://schemas.microsoft.com/office/drawing/2014/main" id="{C5F530EB-DAA4-4C10-9CB7-29DF4AEF6C25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1587030"/>
            <a:ext cx="7856911" cy="1477328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375890"/>
            <a:ext cx="9212849" cy="984885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32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3CC68A23-E418-487E-BB61-DBF9AB5D5585}"/>
              </a:ext>
            </a:extLst>
          </p:cNvPr>
          <p:cNvSpPr/>
          <p:nvPr userDrawn="1"/>
        </p:nvSpPr>
        <p:spPr>
          <a:xfrm>
            <a:off x="9413269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lvl="0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47771F56-AB96-4166-9A11-401910BDF52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897" y="5679467"/>
            <a:ext cx="4310578" cy="721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480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 userDrawn="1">
          <p15:clr>
            <a:srgbClr val="A4A3A4"/>
          </p15:clr>
        </p15:guide>
        <p15:guide id="4" orient="horz" pos="754" userDrawn="1">
          <p15:clr>
            <a:srgbClr val="A4A3A4"/>
          </p15:clr>
        </p15:guide>
        <p15:guide id="5" orient="horz" pos="640" userDrawn="1">
          <p15:clr>
            <a:srgbClr val="A4A3A4"/>
          </p15:clr>
        </p15:guide>
        <p15:guide id="6" orient="horz" pos="210" userDrawn="1">
          <p15:clr>
            <a:srgbClr val="A4A3A4"/>
          </p15:clr>
        </p15:guide>
        <p15:guide id="7" pos="7197" userDrawn="1">
          <p15:clr>
            <a:srgbClr val="A4A3A4"/>
          </p15:clr>
        </p15:guide>
        <p15:guide id="8" orient="horz" pos="4065" userDrawn="1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GRÜN // Bildplatzhal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6152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Picture Placeholder 17">
            <a:extLst>
              <a:ext uri="{FF2B5EF4-FFF2-40B4-BE49-F238E27FC236}">
                <a16:creationId xmlns:a16="http://schemas.microsoft.com/office/drawing/2014/main" id="{8BBD763D-9831-4A19-A5FB-7D047CE374B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5286826"/>
          </a:xfrm>
          <a:custGeom>
            <a:avLst/>
            <a:gdLst>
              <a:gd name="connsiteX0" fmla="*/ 0 w 12192000"/>
              <a:gd name="connsiteY0" fmla="*/ 0 h 5286826"/>
              <a:gd name="connsiteX1" fmla="*/ 12192000 w 12192000"/>
              <a:gd name="connsiteY1" fmla="*/ 0 h 5286826"/>
              <a:gd name="connsiteX2" fmla="*/ 12192000 w 12192000"/>
              <a:gd name="connsiteY2" fmla="*/ 4110680 h 5286826"/>
              <a:gd name="connsiteX3" fmla="*/ 0 w 12192000"/>
              <a:gd name="connsiteY3" fmla="*/ 5286826 h 5286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86826">
                <a:moveTo>
                  <a:pt x="0" y="0"/>
                </a:moveTo>
                <a:lnTo>
                  <a:pt x="12192000" y="0"/>
                </a:lnTo>
                <a:lnTo>
                  <a:pt x="12192000" y="4110680"/>
                </a:lnTo>
                <a:lnTo>
                  <a:pt x="0" y="528682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pSp>
        <p:nvGrpSpPr>
          <p:cNvPr id="19" name="Group 11">
            <a:extLst>
              <a:ext uri="{FF2B5EF4-FFF2-40B4-BE49-F238E27FC236}">
                <a16:creationId xmlns:a16="http://schemas.microsoft.com/office/drawing/2014/main" id="{DD0B2458-7347-4F27-A78C-530CE66DB127}"/>
              </a:ext>
            </a:extLst>
          </p:cNvPr>
          <p:cNvGrpSpPr/>
          <p:nvPr/>
        </p:nvGrpSpPr>
        <p:grpSpPr>
          <a:xfrm>
            <a:off x="1" y="4180551"/>
            <a:ext cx="12192000" cy="2084670"/>
            <a:chOff x="-14320" y="4773330"/>
            <a:chExt cx="12206319" cy="2084670"/>
          </a:xfrm>
          <a:solidFill>
            <a:schemeClr val="tx2"/>
          </a:solidFill>
        </p:grpSpPr>
        <p:sp>
          <p:nvSpPr>
            <p:cNvPr id="20" name="Freihandform: Form 36">
              <a:extLst>
                <a:ext uri="{FF2B5EF4-FFF2-40B4-BE49-F238E27FC236}">
                  <a16:creationId xmlns:a16="http://schemas.microsoft.com/office/drawing/2014/main" id="{A4428FEA-6C26-4852-A3E9-8FF018FA60FA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Freihandform: Form 36">
              <a:extLst>
                <a:ext uri="{FF2B5EF4-FFF2-40B4-BE49-F238E27FC236}">
                  <a16:creationId xmlns:a16="http://schemas.microsoft.com/office/drawing/2014/main" id="{C5F530EB-DAA4-4C10-9CB7-29DF4AEF6C25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1587030"/>
            <a:ext cx="7856911" cy="1477328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375890"/>
            <a:ext cx="9212849" cy="984885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32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3CC68A23-E418-487E-BB61-DBF9AB5D5585}"/>
              </a:ext>
            </a:extLst>
          </p:cNvPr>
          <p:cNvSpPr/>
          <p:nvPr/>
        </p:nvSpPr>
        <p:spPr>
          <a:xfrm>
            <a:off x="9413269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lvl="0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47771F56-AB96-4166-9A11-401910BDF52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897" y="5679467"/>
            <a:ext cx="4310578" cy="721951"/>
          </a:xfrm>
          <a:prstGeom prst="rect">
            <a:avLst/>
          </a:prstGeom>
        </p:spPr>
      </p:pic>
      <p:graphicFrame>
        <p:nvGraphicFramePr>
          <p:cNvPr id="15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8869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84" imgH="385" progId="TCLayout.ActiveDocument.1">
                  <p:embed/>
                </p:oleObj>
              </mc:Choice>
              <mc:Fallback>
                <p:oleObj name="think-cell Folie" r:id="rId9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7" name="Group 11">
            <a:extLst>
              <a:ext uri="{FF2B5EF4-FFF2-40B4-BE49-F238E27FC236}">
                <a16:creationId xmlns:a16="http://schemas.microsoft.com/office/drawing/2014/main" id="{DD0B2458-7347-4F27-A78C-530CE66DB127}"/>
              </a:ext>
            </a:extLst>
          </p:cNvPr>
          <p:cNvGrpSpPr/>
          <p:nvPr userDrawn="1"/>
        </p:nvGrpSpPr>
        <p:grpSpPr>
          <a:xfrm>
            <a:off x="1" y="4180551"/>
            <a:ext cx="12192000" cy="2084670"/>
            <a:chOff x="-14320" y="4773330"/>
            <a:chExt cx="12206319" cy="2084670"/>
          </a:xfrm>
          <a:solidFill>
            <a:schemeClr val="tx2"/>
          </a:solidFill>
        </p:grpSpPr>
        <p:sp>
          <p:nvSpPr>
            <p:cNvPr id="18" name="Freihandform: Form 36">
              <a:extLst>
                <a:ext uri="{FF2B5EF4-FFF2-40B4-BE49-F238E27FC236}">
                  <a16:creationId xmlns:a16="http://schemas.microsoft.com/office/drawing/2014/main" id="{A4428FEA-6C26-4852-A3E9-8FF018FA60FA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Freihandform: Form 36">
              <a:extLst>
                <a:ext uri="{FF2B5EF4-FFF2-40B4-BE49-F238E27FC236}">
                  <a16:creationId xmlns:a16="http://schemas.microsoft.com/office/drawing/2014/main" id="{C5F530EB-DAA4-4C10-9CB7-29DF4AEF6C25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4" name="Freeform 18">
            <a:extLst>
              <a:ext uri="{FF2B5EF4-FFF2-40B4-BE49-F238E27FC236}">
                <a16:creationId xmlns:a16="http://schemas.microsoft.com/office/drawing/2014/main" id="{3CC68A23-E418-487E-BB61-DBF9AB5D5585}"/>
              </a:ext>
            </a:extLst>
          </p:cNvPr>
          <p:cNvSpPr/>
          <p:nvPr userDrawn="1"/>
        </p:nvSpPr>
        <p:spPr>
          <a:xfrm>
            <a:off x="9413269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lvl="0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5" name="Grafik 7">
            <a:extLst>
              <a:ext uri="{FF2B5EF4-FFF2-40B4-BE49-F238E27FC236}">
                <a16:creationId xmlns:a16="http://schemas.microsoft.com/office/drawing/2014/main" id="{47771F56-AB96-4166-9A11-401910BDF52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897" y="5679467"/>
            <a:ext cx="4310578" cy="721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248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9" pos="483" userDrawn="1">
          <p15:clr>
            <a:srgbClr val="A4A3A4"/>
          </p15:clr>
        </p15:guide>
        <p15:guide id="10" orient="horz" pos="754" userDrawn="1">
          <p15:clr>
            <a:srgbClr val="A4A3A4"/>
          </p15:clr>
        </p15:guide>
        <p15:guide id="11" orient="horz" pos="640" userDrawn="1">
          <p15:clr>
            <a:srgbClr val="A4A3A4"/>
          </p15:clr>
        </p15:guide>
        <p15:guide id="12" orient="horz" pos="210" userDrawn="1">
          <p15:clr>
            <a:srgbClr val="A4A3A4"/>
          </p15:clr>
        </p15:guide>
        <p15:guide id="13" pos="7197" userDrawn="1">
          <p15:clr>
            <a:srgbClr val="A4A3A4"/>
          </p15:clr>
        </p15:guide>
        <p15:guide id="14" orient="horz" pos="4065" userDrawn="1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GRÜN // Bild fi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4FB6EE2C-707F-C44D-8AA5-9E2D85214630}"/>
              </a:ext>
            </a:extLst>
          </p:cNvPr>
          <p:cNvSpPr/>
          <p:nvPr/>
        </p:nvSpPr>
        <p:spPr>
          <a:xfrm>
            <a:off x="-2" y="0"/>
            <a:ext cx="12192001" cy="6193111"/>
          </a:xfrm>
          <a:prstGeom prst="rect">
            <a:avLst/>
          </a:prstGeom>
          <a:solidFill>
            <a:srgbClr val="00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7D80E89-247E-A848-AC8E-FD04136F57E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99308" y="0"/>
            <a:ext cx="7531100" cy="5400942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FD36E87A-29D3-BC47-8370-3C6F038F86FB}"/>
              </a:ext>
            </a:extLst>
          </p:cNvPr>
          <p:cNvGrpSpPr/>
          <p:nvPr/>
        </p:nvGrpSpPr>
        <p:grpSpPr>
          <a:xfrm>
            <a:off x="1" y="4109111"/>
            <a:ext cx="12192000" cy="2584735"/>
            <a:chOff x="1" y="4109111"/>
            <a:chExt cx="12192000" cy="2584735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A4D2EE94-2913-F74B-BF74-14EEECDA3E6A}"/>
                </a:ext>
              </a:extLst>
            </p:cNvPr>
            <p:cNvGrpSpPr/>
            <p:nvPr/>
          </p:nvGrpSpPr>
          <p:grpSpPr>
            <a:xfrm>
              <a:off x="1" y="4109111"/>
              <a:ext cx="12192000" cy="2156110"/>
              <a:chOff x="-14320" y="4701890"/>
              <a:chExt cx="12206319" cy="2156110"/>
            </a:xfrm>
            <a:solidFill>
              <a:schemeClr val="tx2"/>
            </a:solidFill>
          </p:grpSpPr>
          <p:sp>
            <p:nvSpPr>
              <p:cNvPr id="27" name="Freihandform: Form 36">
                <a:extLst>
                  <a:ext uri="{FF2B5EF4-FFF2-40B4-BE49-F238E27FC236}">
                    <a16:creationId xmlns:a16="http://schemas.microsoft.com/office/drawing/2014/main" id="{77B660CE-0A34-A240-B62F-43519ED186EF}"/>
                  </a:ext>
                </a:extLst>
              </p:cNvPr>
              <p:cNvSpPr/>
              <p:nvPr/>
            </p:nvSpPr>
            <p:spPr>
              <a:xfrm>
                <a:off x="-14320" y="4701890"/>
                <a:ext cx="12206319" cy="1177527"/>
              </a:xfrm>
              <a:custGeom>
                <a:avLst/>
                <a:gdLst>
                  <a:gd name="connsiteX0" fmla="*/ 6984082 w 6984082"/>
                  <a:gd name="connsiteY0" fmla="*/ 0 h 1087864"/>
                  <a:gd name="connsiteX1" fmla="*/ 6984082 w 6984082"/>
                  <a:gd name="connsiteY1" fmla="*/ 537210 h 1087864"/>
                  <a:gd name="connsiteX2" fmla="*/ 6984082 w 6984082"/>
                  <a:gd name="connsiteY2" fmla="*/ 1087864 h 1087864"/>
                  <a:gd name="connsiteX3" fmla="*/ 0 w 6984082"/>
                  <a:gd name="connsiteY3" fmla="*/ 1087864 h 1087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84082" h="1087864">
                    <a:moveTo>
                      <a:pt x="6984082" y="0"/>
                    </a:moveTo>
                    <a:lnTo>
                      <a:pt x="6984082" y="537210"/>
                    </a:lnTo>
                    <a:lnTo>
                      <a:pt x="6984082" y="1087864"/>
                    </a:lnTo>
                    <a:lnTo>
                      <a:pt x="0" y="1087864"/>
                    </a:lnTo>
                    <a:close/>
                  </a:path>
                </a:pathLst>
              </a:cu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Freihandform: Form 36">
                <a:extLst>
                  <a:ext uri="{FF2B5EF4-FFF2-40B4-BE49-F238E27FC236}">
                    <a16:creationId xmlns:a16="http://schemas.microsoft.com/office/drawing/2014/main" id="{A4B9466F-338C-094F-940A-E4F8C0FB212E}"/>
                  </a:ext>
                </a:extLst>
              </p:cNvPr>
              <p:cNvSpPr/>
              <p:nvPr/>
            </p:nvSpPr>
            <p:spPr>
              <a:xfrm>
                <a:off x="-14320" y="5950857"/>
                <a:ext cx="12206319" cy="907143"/>
              </a:xfrm>
              <a:prstGeom prst="rect">
                <a:avLst/>
              </a:pr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6E1FC518-7A43-5B4E-ACD6-904D7BF83146}"/>
                </a:ext>
              </a:extLst>
            </p:cNvPr>
            <p:cNvGrpSpPr/>
            <p:nvPr/>
          </p:nvGrpSpPr>
          <p:grpSpPr>
            <a:xfrm>
              <a:off x="1" y="5286638"/>
              <a:ext cx="12192000" cy="1407208"/>
              <a:chOff x="-14320" y="4701890"/>
              <a:chExt cx="12206319" cy="2156110"/>
            </a:xfrm>
            <a:solidFill>
              <a:schemeClr val="tx2"/>
            </a:solidFill>
          </p:grpSpPr>
          <p:sp>
            <p:nvSpPr>
              <p:cNvPr id="25" name="Freihandform: Form 36">
                <a:extLst>
                  <a:ext uri="{FF2B5EF4-FFF2-40B4-BE49-F238E27FC236}">
                    <a16:creationId xmlns:a16="http://schemas.microsoft.com/office/drawing/2014/main" id="{E8B85861-FFF2-9044-AB3C-0431F4DAD23B}"/>
                  </a:ext>
                </a:extLst>
              </p:cNvPr>
              <p:cNvSpPr/>
              <p:nvPr/>
            </p:nvSpPr>
            <p:spPr>
              <a:xfrm>
                <a:off x="-14320" y="4701890"/>
                <a:ext cx="12206319" cy="1177527"/>
              </a:xfrm>
              <a:prstGeom prst="rect">
                <a:avLst/>
              </a:pr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Freihandform: Form 36">
                <a:extLst>
                  <a:ext uri="{FF2B5EF4-FFF2-40B4-BE49-F238E27FC236}">
                    <a16:creationId xmlns:a16="http://schemas.microsoft.com/office/drawing/2014/main" id="{39254663-6158-6A45-AE29-7268EB9EC89A}"/>
                  </a:ext>
                </a:extLst>
              </p:cNvPr>
              <p:cNvSpPr/>
              <p:nvPr/>
            </p:nvSpPr>
            <p:spPr>
              <a:xfrm>
                <a:off x="-14320" y="5950857"/>
                <a:ext cx="12206319" cy="907143"/>
              </a:xfrm>
              <a:prstGeom prst="rect">
                <a:avLst/>
              </a:pr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A0779EA-D713-DD4F-80D4-8D599941F06A}"/>
              </a:ext>
            </a:extLst>
          </p:cNvPr>
          <p:cNvGrpSpPr/>
          <p:nvPr/>
        </p:nvGrpSpPr>
        <p:grpSpPr>
          <a:xfrm>
            <a:off x="1" y="4180551"/>
            <a:ext cx="12192000" cy="2084670"/>
            <a:chOff x="-14320" y="4773330"/>
            <a:chExt cx="12206319" cy="2084670"/>
          </a:xfrm>
          <a:solidFill>
            <a:schemeClr val="tx2"/>
          </a:solidFill>
        </p:grpSpPr>
        <p:sp>
          <p:nvSpPr>
            <p:cNvPr id="15" name="Freihandform: Form 36">
              <a:extLst>
                <a:ext uri="{FF2B5EF4-FFF2-40B4-BE49-F238E27FC236}">
                  <a16:creationId xmlns:a16="http://schemas.microsoft.com/office/drawing/2014/main" id="{6B81F7C2-50E7-D648-A1CA-DE8AF9652D34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ihandform: Form 36">
              <a:extLst>
                <a:ext uri="{FF2B5EF4-FFF2-40B4-BE49-F238E27FC236}">
                  <a16:creationId xmlns:a16="http://schemas.microsoft.com/office/drawing/2014/main" id="{15DF55AD-F834-9347-9E93-6BEEA3FBCAB3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206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84" imgH="385" progId="TCLayout.ActiveDocument.1">
                  <p:embed/>
                </p:oleObj>
              </mc:Choice>
              <mc:Fallback>
                <p:oleObj name="think-cell Folie" r:id="rId7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1587030"/>
            <a:ext cx="7856911" cy="1477328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375890"/>
            <a:ext cx="9212849" cy="984885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32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3CC68A23-E418-487E-BB61-DBF9AB5D5585}"/>
              </a:ext>
            </a:extLst>
          </p:cNvPr>
          <p:cNvSpPr/>
          <p:nvPr/>
        </p:nvSpPr>
        <p:spPr>
          <a:xfrm>
            <a:off x="9413269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lvl="0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47771F56-AB96-4166-9A11-401910BDF52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897" y="5679467"/>
            <a:ext cx="4310578" cy="721951"/>
          </a:xfrm>
          <a:prstGeom prst="rect">
            <a:avLst/>
          </a:prstGeom>
        </p:spPr>
      </p:pic>
      <p:sp>
        <p:nvSpPr>
          <p:cNvPr id="29" name="Rectangle 17">
            <a:extLst>
              <a:ext uri="{FF2B5EF4-FFF2-40B4-BE49-F238E27FC236}">
                <a16:creationId xmlns:a16="http://schemas.microsoft.com/office/drawing/2014/main" id="{4FB6EE2C-707F-C44D-8AA5-9E2D85214630}"/>
              </a:ext>
            </a:extLst>
          </p:cNvPr>
          <p:cNvSpPr/>
          <p:nvPr userDrawn="1"/>
        </p:nvSpPr>
        <p:spPr>
          <a:xfrm>
            <a:off x="-2" y="0"/>
            <a:ext cx="12192001" cy="6193111"/>
          </a:xfrm>
          <a:prstGeom prst="rect">
            <a:avLst/>
          </a:prstGeom>
          <a:solidFill>
            <a:srgbClr val="00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30" name="Picture 19">
            <a:extLst>
              <a:ext uri="{FF2B5EF4-FFF2-40B4-BE49-F238E27FC236}">
                <a16:creationId xmlns:a16="http://schemas.microsoft.com/office/drawing/2014/main" id="{E7D80E89-247E-A848-AC8E-FD04136F57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99308" y="0"/>
            <a:ext cx="7531100" cy="5400942"/>
          </a:xfrm>
          <a:prstGeom prst="rect">
            <a:avLst/>
          </a:prstGeom>
        </p:spPr>
      </p:pic>
      <p:grpSp>
        <p:nvGrpSpPr>
          <p:cNvPr id="31" name="Group 21">
            <a:extLst>
              <a:ext uri="{FF2B5EF4-FFF2-40B4-BE49-F238E27FC236}">
                <a16:creationId xmlns:a16="http://schemas.microsoft.com/office/drawing/2014/main" id="{FD36E87A-29D3-BC47-8370-3C6F038F86FB}"/>
              </a:ext>
            </a:extLst>
          </p:cNvPr>
          <p:cNvGrpSpPr/>
          <p:nvPr userDrawn="1"/>
        </p:nvGrpSpPr>
        <p:grpSpPr>
          <a:xfrm>
            <a:off x="1" y="4109111"/>
            <a:ext cx="12192000" cy="2584735"/>
            <a:chOff x="1" y="4109111"/>
            <a:chExt cx="12192000" cy="2584735"/>
          </a:xfrm>
        </p:grpSpPr>
        <p:grpSp>
          <p:nvGrpSpPr>
            <p:cNvPr id="32" name="Group 22">
              <a:extLst>
                <a:ext uri="{FF2B5EF4-FFF2-40B4-BE49-F238E27FC236}">
                  <a16:creationId xmlns:a16="http://schemas.microsoft.com/office/drawing/2014/main" id="{A4D2EE94-2913-F74B-BF74-14EEECDA3E6A}"/>
                </a:ext>
              </a:extLst>
            </p:cNvPr>
            <p:cNvGrpSpPr/>
            <p:nvPr userDrawn="1"/>
          </p:nvGrpSpPr>
          <p:grpSpPr>
            <a:xfrm>
              <a:off x="1" y="4109111"/>
              <a:ext cx="12192000" cy="2156110"/>
              <a:chOff x="-14320" y="4701890"/>
              <a:chExt cx="12206319" cy="2156110"/>
            </a:xfrm>
            <a:solidFill>
              <a:schemeClr val="tx2"/>
            </a:solidFill>
          </p:grpSpPr>
          <p:sp>
            <p:nvSpPr>
              <p:cNvPr id="36" name="Freihandform: Form 36">
                <a:extLst>
                  <a:ext uri="{FF2B5EF4-FFF2-40B4-BE49-F238E27FC236}">
                    <a16:creationId xmlns:a16="http://schemas.microsoft.com/office/drawing/2014/main" id="{77B660CE-0A34-A240-B62F-43519ED186EF}"/>
                  </a:ext>
                </a:extLst>
              </p:cNvPr>
              <p:cNvSpPr/>
              <p:nvPr/>
            </p:nvSpPr>
            <p:spPr>
              <a:xfrm>
                <a:off x="-14320" y="4701890"/>
                <a:ext cx="12206319" cy="1177527"/>
              </a:xfrm>
              <a:custGeom>
                <a:avLst/>
                <a:gdLst>
                  <a:gd name="connsiteX0" fmla="*/ 6984082 w 6984082"/>
                  <a:gd name="connsiteY0" fmla="*/ 0 h 1087864"/>
                  <a:gd name="connsiteX1" fmla="*/ 6984082 w 6984082"/>
                  <a:gd name="connsiteY1" fmla="*/ 537210 h 1087864"/>
                  <a:gd name="connsiteX2" fmla="*/ 6984082 w 6984082"/>
                  <a:gd name="connsiteY2" fmla="*/ 1087864 h 1087864"/>
                  <a:gd name="connsiteX3" fmla="*/ 0 w 6984082"/>
                  <a:gd name="connsiteY3" fmla="*/ 1087864 h 1087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84082" h="1087864">
                    <a:moveTo>
                      <a:pt x="6984082" y="0"/>
                    </a:moveTo>
                    <a:lnTo>
                      <a:pt x="6984082" y="537210"/>
                    </a:lnTo>
                    <a:lnTo>
                      <a:pt x="6984082" y="1087864"/>
                    </a:lnTo>
                    <a:lnTo>
                      <a:pt x="0" y="1087864"/>
                    </a:lnTo>
                    <a:close/>
                  </a:path>
                </a:pathLst>
              </a:cu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A4B9466F-338C-094F-940A-E4F8C0FB212E}"/>
                  </a:ext>
                </a:extLst>
              </p:cNvPr>
              <p:cNvSpPr/>
              <p:nvPr/>
            </p:nvSpPr>
            <p:spPr>
              <a:xfrm>
                <a:off x="-14320" y="5950857"/>
                <a:ext cx="12206319" cy="907143"/>
              </a:xfrm>
              <a:prstGeom prst="rect">
                <a:avLst/>
              </a:pr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3" name="Group 23">
              <a:extLst>
                <a:ext uri="{FF2B5EF4-FFF2-40B4-BE49-F238E27FC236}">
                  <a16:creationId xmlns:a16="http://schemas.microsoft.com/office/drawing/2014/main" id="{6E1FC518-7A43-5B4E-ACD6-904D7BF83146}"/>
                </a:ext>
              </a:extLst>
            </p:cNvPr>
            <p:cNvGrpSpPr/>
            <p:nvPr userDrawn="1"/>
          </p:nvGrpSpPr>
          <p:grpSpPr>
            <a:xfrm>
              <a:off x="1" y="5286638"/>
              <a:ext cx="12192000" cy="1407208"/>
              <a:chOff x="-14320" y="4701890"/>
              <a:chExt cx="12206319" cy="2156110"/>
            </a:xfrm>
            <a:solidFill>
              <a:schemeClr val="tx2"/>
            </a:solidFill>
          </p:grpSpPr>
          <p:sp>
            <p:nvSpPr>
              <p:cNvPr id="34" name="Freihandform: Form 36">
                <a:extLst>
                  <a:ext uri="{FF2B5EF4-FFF2-40B4-BE49-F238E27FC236}">
                    <a16:creationId xmlns:a16="http://schemas.microsoft.com/office/drawing/2014/main" id="{E8B85861-FFF2-9044-AB3C-0431F4DAD23B}"/>
                  </a:ext>
                </a:extLst>
              </p:cNvPr>
              <p:cNvSpPr/>
              <p:nvPr/>
            </p:nvSpPr>
            <p:spPr>
              <a:xfrm>
                <a:off x="-14320" y="4701890"/>
                <a:ext cx="12206319" cy="1177527"/>
              </a:xfrm>
              <a:prstGeom prst="rect">
                <a:avLst/>
              </a:pr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Freihandform: Form 36">
                <a:extLst>
                  <a:ext uri="{FF2B5EF4-FFF2-40B4-BE49-F238E27FC236}">
                    <a16:creationId xmlns:a16="http://schemas.microsoft.com/office/drawing/2014/main" id="{39254663-6158-6A45-AE29-7268EB9EC89A}"/>
                  </a:ext>
                </a:extLst>
              </p:cNvPr>
              <p:cNvSpPr/>
              <p:nvPr/>
            </p:nvSpPr>
            <p:spPr>
              <a:xfrm>
                <a:off x="-14320" y="5950857"/>
                <a:ext cx="12206319" cy="907143"/>
              </a:xfrm>
              <a:prstGeom prst="rect">
                <a:avLst/>
              </a:pr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38" name="Group 11">
            <a:extLst>
              <a:ext uri="{FF2B5EF4-FFF2-40B4-BE49-F238E27FC236}">
                <a16:creationId xmlns:a16="http://schemas.microsoft.com/office/drawing/2014/main" id="{7A0779EA-D713-DD4F-80D4-8D599941F06A}"/>
              </a:ext>
            </a:extLst>
          </p:cNvPr>
          <p:cNvGrpSpPr/>
          <p:nvPr userDrawn="1"/>
        </p:nvGrpSpPr>
        <p:grpSpPr>
          <a:xfrm>
            <a:off x="1" y="4180551"/>
            <a:ext cx="12192000" cy="2084670"/>
            <a:chOff x="-14320" y="4773330"/>
            <a:chExt cx="12206319" cy="2084670"/>
          </a:xfrm>
          <a:solidFill>
            <a:schemeClr val="tx2"/>
          </a:solidFill>
        </p:grpSpPr>
        <p:sp>
          <p:nvSpPr>
            <p:cNvPr id="39" name="Freihandform: Form 36">
              <a:extLst>
                <a:ext uri="{FF2B5EF4-FFF2-40B4-BE49-F238E27FC236}">
                  <a16:creationId xmlns:a16="http://schemas.microsoft.com/office/drawing/2014/main" id="{6B81F7C2-50E7-D648-A1CA-DE8AF9652D34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40" name="Freihandform: Form 36">
              <a:extLst>
                <a:ext uri="{FF2B5EF4-FFF2-40B4-BE49-F238E27FC236}">
                  <a16:creationId xmlns:a16="http://schemas.microsoft.com/office/drawing/2014/main" id="{15DF55AD-F834-9347-9E93-6BEEA3FBCAB3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4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38184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84" imgH="385" progId="TCLayout.ActiveDocument.1">
                  <p:embed/>
                </p:oleObj>
              </mc:Choice>
              <mc:Fallback>
                <p:oleObj name="think-cell Folie" r:id="rId10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3" name="Freeform 18">
            <a:extLst>
              <a:ext uri="{FF2B5EF4-FFF2-40B4-BE49-F238E27FC236}">
                <a16:creationId xmlns:a16="http://schemas.microsoft.com/office/drawing/2014/main" id="{3CC68A23-E418-487E-BB61-DBF9AB5D5585}"/>
              </a:ext>
            </a:extLst>
          </p:cNvPr>
          <p:cNvSpPr/>
          <p:nvPr userDrawn="1"/>
        </p:nvSpPr>
        <p:spPr>
          <a:xfrm>
            <a:off x="9413269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lvl="0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44" name="Grafik 7">
            <a:extLst>
              <a:ext uri="{FF2B5EF4-FFF2-40B4-BE49-F238E27FC236}">
                <a16:creationId xmlns:a16="http://schemas.microsoft.com/office/drawing/2014/main" id="{47771F56-AB96-4166-9A11-401910BDF52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897" y="5679467"/>
            <a:ext cx="4310578" cy="721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55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9" pos="483" userDrawn="1">
          <p15:clr>
            <a:srgbClr val="A4A3A4"/>
          </p15:clr>
        </p15:guide>
        <p15:guide id="10" orient="horz" pos="754" userDrawn="1">
          <p15:clr>
            <a:srgbClr val="A4A3A4"/>
          </p15:clr>
        </p15:guide>
        <p15:guide id="11" orient="horz" pos="640" userDrawn="1">
          <p15:clr>
            <a:srgbClr val="A4A3A4"/>
          </p15:clr>
        </p15:guide>
        <p15:guide id="12" orient="horz" pos="210" userDrawn="1">
          <p15:clr>
            <a:srgbClr val="A4A3A4"/>
          </p15:clr>
        </p15:guide>
        <p15:guide id="13" pos="7197" userDrawn="1">
          <p15:clr>
            <a:srgbClr val="A4A3A4"/>
          </p15:clr>
        </p15:guide>
        <p15:guide id="14" orient="horz" pos="4065" userDrawn="1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// 1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4629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0E83E4A-9A3D-4624-A632-4365CC9008C6}"/>
              </a:ext>
            </a:extLst>
          </p:cNvPr>
          <p:cNvGrpSpPr/>
          <p:nvPr/>
        </p:nvGrpSpPr>
        <p:grpSpPr>
          <a:xfrm>
            <a:off x="-14320" y="4523949"/>
            <a:ext cx="12206319" cy="2084670"/>
            <a:chOff x="-14320" y="4773330"/>
            <a:chExt cx="12206319" cy="2084670"/>
          </a:xfrm>
          <a:solidFill>
            <a:schemeClr val="bg1"/>
          </a:solidFill>
        </p:grpSpPr>
        <p:sp>
          <p:nvSpPr>
            <p:cNvPr id="12" name="Freihandform: Form 36">
              <a:extLst>
                <a:ext uri="{FF2B5EF4-FFF2-40B4-BE49-F238E27FC236}">
                  <a16:creationId xmlns:a16="http://schemas.microsoft.com/office/drawing/2014/main" id="{0CCDEB08-509C-412A-B334-886FA8CA4A53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Freihandform: Form 36">
              <a:extLst>
                <a:ext uri="{FF2B5EF4-FFF2-40B4-BE49-F238E27FC236}">
                  <a16:creationId xmlns:a16="http://schemas.microsoft.com/office/drawing/2014/main" id="{5F6B9C06-4759-4BDD-8A87-6A0B93D8BF27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B158FD-BC8B-4BD7-B30C-33155EC07E27}"/>
              </a:ext>
            </a:extLst>
          </p:cNvPr>
          <p:cNvGrpSpPr/>
          <p:nvPr/>
        </p:nvGrpSpPr>
        <p:grpSpPr>
          <a:xfrm>
            <a:off x="-14320" y="4773330"/>
            <a:ext cx="12206319" cy="2084670"/>
            <a:chOff x="-14320" y="4773330"/>
            <a:chExt cx="12206319" cy="2084670"/>
          </a:xfrm>
          <a:solidFill>
            <a:schemeClr val="tx1"/>
          </a:solidFill>
        </p:grpSpPr>
        <p:sp>
          <p:nvSpPr>
            <p:cNvPr id="18" name="Freihandform: Form 36">
              <a:extLst>
                <a:ext uri="{FF2B5EF4-FFF2-40B4-BE49-F238E27FC236}">
                  <a16:creationId xmlns:a16="http://schemas.microsoft.com/office/drawing/2014/main" id="{276FF15F-79EA-48EF-AB19-8EF5B83AA268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9" name="Freihandform: Form 36">
              <a:extLst>
                <a:ext uri="{FF2B5EF4-FFF2-40B4-BE49-F238E27FC236}">
                  <a16:creationId xmlns:a16="http://schemas.microsoft.com/office/drawing/2014/main" id="{EE10ADC2-F397-424B-A593-F7D24FE8F642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0" name="Freeform 27">
            <a:extLst>
              <a:ext uri="{FF2B5EF4-FFF2-40B4-BE49-F238E27FC236}">
                <a16:creationId xmlns:a16="http://schemas.microsoft.com/office/drawing/2014/main" id="{F99D45B5-30C5-4D8C-AD9A-57761B90366A}"/>
              </a:ext>
            </a:extLst>
          </p:cNvPr>
          <p:cNvSpPr/>
          <p:nvPr/>
        </p:nvSpPr>
        <p:spPr>
          <a:xfrm>
            <a:off x="9950300" y="5187321"/>
            <a:ext cx="2014480" cy="1670373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ABC8BF24-69D2-4ED3-A927-999B8112752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5612" y="5849915"/>
            <a:ext cx="2676530" cy="448275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/>
        </p:nvSpPr>
        <p:spPr>
          <a:xfrm>
            <a:off x="766763" y="333375"/>
            <a:ext cx="69500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8B7D36-4FC7-458A-91CB-590EC0375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333692"/>
            <a:ext cx="6950075" cy="680356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01044316-A55F-4672-890E-8E36CD55FAD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67663" y="333692"/>
            <a:ext cx="4224337" cy="4614736"/>
          </a:xfrm>
          <a:custGeom>
            <a:avLst/>
            <a:gdLst>
              <a:gd name="connsiteX0" fmla="*/ 0 w 4224337"/>
              <a:gd name="connsiteY0" fmla="*/ 0 h 4614736"/>
              <a:gd name="connsiteX1" fmla="*/ 4224337 w 4224337"/>
              <a:gd name="connsiteY1" fmla="*/ 0 h 4614736"/>
              <a:gd name="connsiteX2" fmla="*/ 4224337 w 4224337"/>
              <a:gd name="connsiteY2" fmla="*/ 4206741 h 4614736"/>
              <a:gd name="connsiteX3" fmla="*/ 0 w 4224337"/>
              <a:gd name="connsiteY3" fmla="*/ 4614736 h 4614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4337" h="4614736">
                <a:moveTo>
                  <a:pt x="0" y="0"/>
                </a:moveTo>
                <a:lnTo>
                  <a:pt x="4224337" y="0"/>
                </a:lnTo>
                <a:lnTo>
                  <a:pt x="4224337" y="4206741"/>
                </a:lnTo>
                <a:lnTo>
                  <a:pt x="0" y="461473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66707-4BCC-41E0-BEB4-0622C3F345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2039265"/>
            <a:ext cx="6842125" cy="2357331"/>
          </a:xfrm>
        </p:spPr>
        <p:txBody>
          <a:bodyPr anchor="ctr">
            <a:normAutofit/>
          </a:bodyPr>
          <a:lstStyle>
            <a:lvl1pPr marL="457200" indent="-457200">
              <a:buFont typeface="+mj-lt"/>
              <a:buAutoNum type="arabicPeriod"/>
              <a:defRPr sz="2400" baseline="0"/>
            </a:lvl1pPr>
            <a:lvl2pPr marL="358775" indent="0">
              <a:buFont typeface="+mj-lt"/>
              <a:buNone/>
              <a:defRPr sz="2400"/>
            </a:lvl2pPr>
            <a:lvl3pPr marL="457200" indent="-457200">
              <a:buFont typeface="+mj-lt"/>
              <a:buAutoNum type="arabicPeriod"/>
              <a:defRPr sz="2400"/>
            </a:lvl3pPr>
            <a:lvl4pPr marL="457200" indent="-457200">
              <a:buFont typeface="+mj-lt"/>
              <a:buAutoNum type="arabicPeriod"/>
              <a:defRPr sz="2400"/>
            </a:lvl4pPr>
            <a:lvl5pPr marL="457200" indent="-457200">
              <a:buFont typeface="+mj-lt"/>
              <a:buAutoNum type="arabicPeriod"/>
              <a:defRPr sz="24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graphicFrame>
        <p:nvGraphicFramePr>
          <p:cNvPr id="22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442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84" imgH="385" progId="TCLayout.ActiveDocument.1">
                  <p:embed/>
                </p:oleObj>
              </mc:Choice>
              <mc:Fallback>
                <p:oleObj name="think-cell Folie" r:id="rId9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4" name="Group 10">
            <a:extLst>
              <a:ext uri="{FF2B5EF4-FFF2-40B4-BE49-F238E27FC236}">
                <a16:creationId xmlns:a16="http://schemas.microsoft.com/office/drawing/2014/main" id="{80E83E4A-9A3D-4624-A632-4365CC9008C6}"/>
              </a:ext>
            </a:extLst>
          </p:cNvPr>
          <p:cNvGrpSpPr/>
          <p:nvPr userDrawn="1"/>
        </p:nvGrpSpPr>
        <p:grpSpPr>
          <a:xfrm>
            <a:off x="-14320" y="4523949"/>
            <a:ext cx="12206319" cy="2084670"/>
            <a:chOff x="-14320" y="4773330"/>
            <a:chExt cx="12206319" cy="2084670"/>
          </a:xfrm>
          <a:solidFill>
            <a:schemeClr val="bg1"/>
          </a:solidFill>
        </p:grpSpPr>
        <p:sp>
          <p:nvSpPr>
            <p:cNvPr id="25" name="Freihandform: Form 36">
              <a:extLst>
                <a:ext uri="{FF2B5EF4-FFF2-40B4-BE49-F238E27FC236}">
                  <a16:creationId xmlns:a16="http://schemas.microsoft.com/office/drawing/2014/main" id="{0CCDEB08-509C-412A-B334-886FA8CA4A53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Freihandform: Form 36">
              <a:extLst>
                <a:ext uri="{FF2B5EF4-FFF2-40B4-BE49-F238E27FC236}">
                  <a16:creationId xmlns:a16="http://schemas.microsoft.com/office/drawing/2014/main" id="{5F6B9C06-4759-4BDD-8A87-6A0B93D8BF27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16">
            <a:extLst>
              <a:ext uri="{FF2B5EF4-FFF2-40B4-BE49-F238E27FC236}">
                <a16:creationId xmlns:a16="http://schemas.microsoft.com/office/drawing/2014/main" id="{E7B158FD-BC8B-4BD7-B30C-33155EC07E27}"/>
              </a:ext>
            </a:extLst>
          </p:cNvPr>
          <p:cNvGrpSpPr/>
          <p:nvPr userDrawn="1"/>
        </p:nvGrpSpPr>
        <p:grpSpPr>
          <a:xfrm>
            <a:off x="-14320" y="4773330"/>
            <a:ext cx="12206319" cy="2084670"/>
            <a:chOff x="-14320" y="4773330"/>
            <a:chExt cx="12206319" cy="2084670"/>
          </a:xfrm>
          <a:solidFill>
            <a:schemeClr val="tx1"/>
          </a:solidFill>
        </p:grpSpPr>
        <p:sp>
          <p:nvSpPr>
            <p:cNvPr id="28" name="Freihandform: Form 36">
              <a:extLst>
                <a:ext uri="{FF2B5EF4-FFF2-40B4-BE49-F238E27FC236}">
                  <a16:creationId xmlns:a16="http://schemas.microsoft.com/office/drawing/2014/main" id="{276FF15F-79EA-48EF-AB19-8EF5B83AA268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9" name="Freihandform: Form 36">
              <a:extLst>
                <a:ext uri="{FF2B5EF4-FFF2-40B4-BE49-F238E27FC236}">
                  <a16:creationId xmlns:a16="http://schemas.microsoft.com/office/drawing/2014/main" id="{EE10ADC2-F397-424B-A593-F7D24FE8F642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Freeform 27">
            <a:extLst>
              <a:ext uri="{FF2B5EF4-FFF2-40B4-BE49-F238E27FC236}">
                <a16:creationId xmlns:a16="http://schemas.microsoft.com/office/drawing/2014/main" id="{F99D45B5-30C5-4D8C-AD9A-57761B90366A}"/>
              </a:ext>
            </a:extLst>
          </p:cNvPr>
          <p:cNvSpPr/>
          <p:nvPr userDrawn="1"/>
        </p:nvSpPr>
        <p:spPr>
          <a:xfrm>
            <a:off x="9950300" y="5187321"/>
            <a:ext cx="2014480" cy="1670373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31" name="Grafik 7">
            <a:extLst>
              <a:ext uri="{FF2B5EF4-FFF2-40B4-BE49-F238E27FC236}">
                <a16:creationId xmlns:a16="http://schemas.microsoft.com/office/drawing/2014/main" id="{ABC8BF24-69D2-4ED3-A927-999B8112752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5612" y="5849915"/>
            <a:ext cx="2676530" cy="448275"/>
          </a:xfrm>
          <a:prstGeom prst="rect">
            <a:avLst/>
          </a:prstGeom>
        </p:spPr>
      </p:pic>
      <p:sp>
        <p:nvSpPr>
          <p:cNvPr id="32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69500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8286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F26B43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// 2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4402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6B70AA37-E0FC-4DDD-83BC-51CD76943BD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67663" y="1760434"/>
            <a:ext cx="4224337" cy="3187994"/>
          </a:xfrm>
          <a:custGeom>
            <a:avLst/>
            <a:gdLst>
              <a:gd name="connsiteX0" fmla="*/ 4224337 w 4224337"/>
              <a:gd name="connsiteY0" fmla="*/ 0 h 3187994"/>
              <a:gd name="connsiteX1" fmla="*/ 4224337 w 4224337"/>
              <a:gd name="connsiteY1" fmla="*/ 2779999 h 3187994"/>
              <a:gd name="connsiteX2" fmla="*/ 0 w 4224337"/>
              <a:gd name="connsiteY2" fmla="*/ 3187994 h 3187994"/>
              <a:gd name="connsiteX3" fmla="*/ 0 w 4224337"/>
              <a:gd name="connsiteY3" fmla="*/ 407995 h 3187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4337" h="3187994">
                <a:moveTo>
                  <a:pt x="4224337" y="0"/>
                </a:moveTo>
                <a:lnTo>
                  <a:pt x="4224337" y="2779999"/>
                </a:lnTo>
                <a:lnTo>
                  <a:pt x="0" y="3187994"/>
                </a:lnTo>
                <a:lnTo>
                  <a:pt x="0" y="40799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13FAB4FD-6DEF-43B5-849A-C9540A5EA47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67663" y="333693"/>
            <a:ext cx="4224337" cy="1556209"/>
          </a:xfrm>
          <a:custGeom>
            <a:avLst/>
            <a:gdLst>
              <a:gd name="connsiteX0" fmla="*/ 0 w 4224337"/>
              <a:gd name="connsiteY0" fmla="*/ 0 h 1556209"/>
              <a:gd name="connsiteX1" fmla="*/ 4224337 w 4224337"/>
              <a:gd name="connsiteY1" fmla="*/ 0 h 1556209"/>
              <a:gd name="connsiteX2" fmla="*/ 4224337 w 4224337"/>
              <a:gd name="connsiteY2" fmla="*/ 1148214 h 1556209"/>
              <a:gd name="connsiteX3" fmla="*/ 0 w 4224337"/>
              <a:gd name="connsiteY3" fmla="*/ 1556209 h 1556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4337" h="1556209">
                <a:moveTo>
                  <a:pt x="0" y="0"/>
                </a:moveTo>
                <a:lnTo>
                  <a:pt x="4224337" y="0"/>
                </a:lnTo>
                <a:lnTo>
                  <a:pt x="4224337" y="1148214"/>
                </a:lnTo>
                <a:lnTo>
                  <a:pt x="0" y="1556209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0E83E4A-9A3D-4624-A632-4365CC9008C6}"/>
              </a:ext>
            </a:extLst>
          </p:cNvPr>
          <p:cNvGrpSpPr/>
          <p:nvPr/>
        </p:nvGrpSpPr>
        <p:grpSpPr>
          <a:xfrm>
            <a:off x="-14320" y="4523949"/>
            <a:ext cx="12206319" cy="2084670"/>
            <a:chOff x="-14320" y="4773330"/>
            <a:chExt cx="12206319" cy="2084670"/>
          </a:xfrm>
          <a:solidFill>
            <a:schemeClr val="bg1"/>
          </a:solidFill>
        </p:grpSpPr>
        <p:sp>
          <p:nvSpPr>
            <p:cNvPr id="12" name="Freihandform: Form 36">
              <a:extLst>
                <a:ext uri="{FF2B5EF4-FFF2-40B4-BE49-F238E27FC236}">
                  <a16:creationId xmlns:a16="http://schemas.microsoft.com/office/drawing/2014/main" id="{0CCDEB08-509C-412A-B334-886FA8CA4A53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Freihandform: Form 36">
              <a:extLst>
                <a:ext uri="{FF2B5EF4-FFF2-40B4-BE49-F238E27FC236}">
                  <a16:creationId xmlns:a16="http://schemas.microsoft.com/office/drawing/2014/main" id="{5F6B9C06-4759-4BDD-8A87-6A0B93D8BF27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B158FD-BC8B-4BD7-B30C-33155EC07E27}"/>
              </a:ext>
            </a:extLst>
          </p:cNvPr>
          <p:cNvGrpSpPr/>
          <p:nvPr/>
        </p:nvGrpSpPr>
        <p:grpSpPr>
          <a:xfrm>
            <a:off x="-14320" y="4773330"/>
            <a:ext cx="12206319" cy="2084670"/>
            <a:chOff x="-14320" y="4773330"/>
            <a:chExt cx="12206319" cy="2084670"/>
          </a:xfrm>
          <a:solidFill>
            <a:schemeClr val="tx1"/>
          </a:solidFill>
        </p:grpSpPr>
        <p:sp>
          <p:nvSpPr>
            <p:cNvPr id="18" name="Freihandform: Form 36">
              <a:extLst>
                <a:ext uri="{FF2B5EF4-FFF2-40B4-BE49-F238E27FC236}">
                  <a16:creationId xmlns:a16="http://schemas.microsoft.com/office/drawing/2014/main" id="{276FF15F-79EA-48EF-AB19-8EF5B83AA268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9" name="Freihandform: Form 36">
              <a:extLst>
                <a:ext uri="{FF2B5EF4-FFF2-40B4-BE49-F238E27FC236}">
                  <a16:creationId xmlns:a16="http://schemas.microsoft.com/office/drawing/2014/main" id="{EE10ADC2-F397-424B-A593-F7D24FE8F642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0" name="Freeform 27">
            <a:extLst>
              <a:ext uri="{FF2B5EF4-FFF2-40B4-BE49-F238E27FC236}">
                <a16:creationId xmlns:a16="http://schemas.microsoft.com/office/drawing/2014/main" id="{F99D45B5-30C5-4D8C-AD9A-57761B90366A}"/>
              </a:ext>
            </a:extLst>
          </p:cNvPr>
          <p:cNvSpPr/>
          <p:nvPr/>
        </p:nvSpPr>
        <p:spPr>
          <a:xfrm>
            <a:off x="9950300" y="5187321"/>
            <a:ext cx="2014480" cy="1670373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ABC8BF24-69D2-4ED3-A927-999B8112752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5612" y="5849915"/>
            <a:ext cx="2676530" cy="448275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/>
        </p:nvSpPr>
        <p:spPr>
          <a:xfrm>
            <a:off x="766763" y="333375"/>
            <a:ext cx="69500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8B7D36-4FC7-458A-91CB-590EC0375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333692"/>
            <a:ext cx="6950075" cy="680356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66707-4BCC-41E0-BEB4-0622C3F345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3033264"/>
            <a:ext cx="6842125" cy="369332"/>
          </a:xfrm>
        </p:spPr>
        <p:txBody>
          <a:bodyPr anchor="ctr">
            <a:spAutoFit/>
          </a:bodyPr>
          <a:lstStyle>
            <a:lvl1pPr marL="457200" indent="-457200">
              <a:buFont typeface="+mj-lt"/>
              <a:buAutoNum type="arabicPeriod"/>
              <a:defRPr sz="2400" baseline="0"/>
            </a:lvl1pPr>
            <a:lvl2pPr marL="358775" indent="0">
              <a:buFont typeface="+mj-lt"/>
              <a:buNone/>
              <a:defRPr sz="2400"/>
            </a:lvl2pPr>
            <a:lvl3pPr marL="457200" indent="-457200">
              <a:buFont typeface="+mj-lt"/>
              <a:buAutoNum type="arabicPeriod"/>
              <a:defRPr sz="2400"/>
            </a:lvl3pPr>
            <a:lvl4pPr marL="457200" indent="-457200">
              <a:buFont typeface="+mj-lt"/>
              <a:buAutoNum type="arabicPeriod"/>
              <a:defRPr sz="2400"/>
            </a:lvl4pPr>
            <a:lvl5pPr marL="457200" indent="-457200">
              <a:buFont typeface="+mj-lt"/>
              <a:buAutoNum type="arabicPeriod"/>
              <a:defRPr sz="24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graphicFrame>
        <p:nvGraphicFramePr>
          <p:cNvPr id="22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799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84" imgH="385" progId="TCLayout.ActiveDocument.1">
                  <p:embed/>
                </p:oleObj>
              </mc:Choice>
              <mc:Fallback>
                <p:oleObj name="think-cell Folie" r:id="rId9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4" name="Group 10">
            <a:extLst>
              <a:ext uri="{FF2B5EF4-FFF2-40B4-BE49-F238E27FC236}">
                <a16:creationId xmlns:a16="http://schemas.microsoft.com/office/drawing/2014/main" id="{80E83E4A-9A3D-4624-A632-4365CC9008C6}"/>
              </a:ext>
            </a:extLst>
          </p:cNvPr>
          <p:cNvGrpSpPr/>
          <p:nvPr userDrawn="1"/>
        </p:nvGrpSpPr>
        <p:grpSpPr>
          <a:xfrm>
            <a:off x="-14320" y="4523949"/>
            <a:ext cx="12206319" cy="2084670"/>
            <a:chOff x="-14320" y="4773330"/>
            <a:chExt cx="12206319" cy="2084670"/>
          </a:xfrm>
          <a:solidFill>
            <a:schemeClr val="bg1"/>
          </a:solidFill>
        </p:grpSpPr>
        <p:sp>
          <p:nvSpPr>
            <p:cNvPr id="25" name="Freihandform: Form 36">
              <a:extLst>
                <a:ext uri="{FF2B5EF4-FFF2-40B4-BE49-F238E27FC236}">
                  <a16:creationId xmlns:a16="http://schemas.microsoft.com/office/drawing/2014/main" id="{0CCDEB08-509C-412A-B334-886FA8CA4A53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Freihandform: Form 36">
              <a:extLst>
                <a:ext uri="{FF2B5EF4-FFF2-40B4-BE49-F238E27FC236}">
                  <a16:creationId xmlns:a16="http://schemas.microsoft.com/office/drawing/2014/main" id="{5F6B9C06-4759-4BDD-8A87-6A0B93D8BF27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16">
            <a:extLst>
              <a:ext uri="{FF2B5EF4-FFF2-40B4-BE49-F238E27FC236}">
                <a16:creationId xmlns:a16="http://schemas.microsoft.com/office/drawing/2014/main" id="{E7B158FD-BC8B-4BD7-B30C-33155EC07E27}"/>
              </a:ext>
            </a:extLst>
          </p:cNvPr>
          <p:cNvGrpSpPr/>
          <p:nvPr userDrawn="1"/>
        </p:nvGrpSpPr>
        <p:grpSpPr>
          <a:xfrm>
            <a:off x="-14320" y="4773330"/>
            <a:ext cx="12206319" cy="2084670"/>
            <a:chOff x="-14320" y="4773330"/>
            <a:chExt cx="12206319" cy="2084670"/>
          </a:xfrm>
          <a:solidFill>
            <a:schemeClr val="tx1"/>
          </a:solidFill>
        </p:grpSpPr>
        <p:sp>
          <p:nvSpPr>
            <p:cNvPr id="29" name="Freihandform: Form 36">
              <a:extLst>
                <a:ext uri="{FF2B5EF4-FFF2-40B4-BE49-F238E27FC236}">
                  <a16:creationId xmlns:a16="http://schemas.microsoft.com/office/drawing/2014/main" id="{276FF15F-79EA-48EF-AB19-8EF5B83AA268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Freihandform: Form 36">
              <a:extLst>
                <a:ext uri="{FF2B5EF4-FFF2-40B4-BE49-F238E27FC236}">
                  <a16:creationId xmlns:a16="http://schemas.microsoft.com/office/drawing/2014/main" id="{EE10ADC2-F397-424B-A593-F7D24FE8F642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1" name="Freeform 27">
            <a:extLst>
              <a:ext uri="{FF2B5EF4-FFF2-40B4-BE49-F238E27FC236}">
                <a16:creationId xmlns:a16="http://schemas.microsoft.com/office/drawing/2014/main" id="{F99D45B5-30C5-4D8C-AD9A-57761B90366A}"/>
              </a:ext>
            </a:extLst>
          </p:cNvPr>
          <p:cNvSpPr/>
          <p:nvPr userDrawn="1"/>
        </p:nvSpPr>
        <p:spPr>
          <a:xfrm>
            <a:off x="9950300" y="5187321"/>
            <a:ext cx="2014480" cy="1670373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32" name="Grafik 7">
            <a:extLst>
              <a:ext uri="{FF2B5EF4-FFF2-40B4-BE49-F238E27FC236}">
                <a16:creationId xmlns:a16="http://schemas.microsoft.com/office/drawing/2014/main" id="{ABC8BF24-69D2-4ED3-A927-999B8112752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5612" y="5849915"/>
            <a:ext cx="2676530" cy="448275"/>
          </a:xfrm>
          <a:prstGeom prst="rect">
            <a:avLst/>
          </a:prstGeom>
        </p:spPr>
      </p:pic>
      <p:sp>
        <p:nvSpPr>
          <p:cNvPr id="33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69500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9035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F26B43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//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2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Rechteck 9">
            <a:extLst>
              <a:ext uri="{FF2B5EF4-FFF2-40B4-BE49-F238E27FC236}">
                <a16:creationId xmlns:a16="http://schemas.microsoft.com/office/drawing/2014/main" id="{FAF66208-BE51-4383-B61E-7C1B1F88E877}"/>
              </a:ext>
            </a:extLst>
          </p:cNvPr>
          <p:cNvSpPr/>
          <p:nvPr/>
        </p:nvSpPr>
        <p:spPr>
          <a:xfrm>
            <a:off x="353291" y="336550"/>
            <a:ext cx="11485419" cy="618807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lang="de-DE" kern="0" dirty="0">
              <a:solidFill>
                <a:srgbClr val="FFFFFF"/>
              </a:solidFill>
              <a:latin typeface="Arial Regular"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563CB5D8-D2C9-495A-93FD-C17AF9B306F0}"/>
              </a:ext>
            </a:extLst>
          </p:cNvPr>
          <p:cNvSpPr/>
          <p:nvPr/>
        </p:nvSpPr>
        <p:spPr>
          <a:xfrm>
            <a:off x="8475451" y="3886646"/>
            <a:ext cx="3194306" cy="2648659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chemeClr val="bg1">
              <a:alpha val="23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A57404-7CC7-4DE1-B6B1-1CE4EC33F2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92413" y="2815748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3200" kern="100" spc="0" baseline="0">
                <a:solidFill>
                  <a:schemeClr val="bg1"/>
                </a:solidFill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graphicFrame>
        <p:nvGraphicFramePr>
          <p:cNvPr id="7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3652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chteck 9">
            <a:extLst>
              <a:ext uri="{FF2B5EF4-FFF2-40B4-BE49-F238E27FC236}">
                <a16:creationId xmlns:a16="http://schemas.microsoft.com/office/drawing/2014/main" id="{FAF66208-BE51-4383-B61E-7C1B1F88E877}"/>
              </a:ext>
            </a:extLst>
          </p:cNvPr>
          <p:cNvSpPr/>
          <p:nvPr userDrawn="1"/>
        </p:nvSpPr>
        <p:spPr>
          <a:xfrm>
            <a:off x="353291" y="336550"/>
            <a:ext cx="11485419" cy="618807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lang="de-DE" kern="0" dirty="0">
              <a:solidFill>
                <a:srgbClr val="FFFFFF"/>
              </a:solidFill>
              <a:latin typeface="Arial Regular"/>
            </a:endParaRPr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563CB5D8-D2C9-495A-93FD-C17AF9B306F0}"/>
              </a:ext>
            </a:extLst>
          </p:cNvPr>
          <p:cNvSpPr/>
          <p:nvPr userDrawn="1"/>
        </p:nvSpPr>
        <p:spPr>
          <a:xfrm>
            <a:off x="8475451" y="3886646"/>
            <a:ext cx="3194306" cy="2648659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chemeClr val="bg1">
              <a:alpha val="23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939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551" userDrawn="1">
          <p15:clr>
            <a:srgbClr val="A4A3A4"/>
          </p15:clr>
        </p15:guide>
        <p15:guide id="12" pos="483" userDrawn="1">
          <p15:clr>
            <a:srgbClr val="A4A3A4"/>
          </p15:clr>
        </p15:guide>
        <p15:guide id="13" orient="horz" pos="754" userDrawn="1">
          <p15:clr>
            <a:srgbClr val="A4A3A4"/>
          </p15:clr>
        </p15:guide>
        <p15:guide id="14" orient="horz" pos="640" userDrawn="1">
          <p15:clr>
            <a:srgbClr val="A4A3A4"/>
          </p15:clr>
        </p15:guide>
        <p15:guide id="15" orient="horz" pos="4065" userDrawn="1">
          <p15:clr>
            <a:srgbClr val="A4A3A4"/>
          </p15:clr>
        </p15:guide>
        <p15:guide id="16" pos="7197" userDrawn="1">
          <p15:clr>
            <a:srgbClr val="A4A3A4"/>
          </p15:clr>
        </p15:guide>
        <p15:guide id="17" orient="horz" pos="4110" userDrawn="1">
          <p15:clr>
            <a:srgbClr val="F26B43"/>
          </p15:clr>
        </p15:guide>
        <p15:guide id="18" pos="226" userDrawn="1">
          <p15:clr>
            <a:srgbClr val="F26B43"/>
          </p15:clr>
        </p15:guide>
        <p15:guide id="19" pos="7452" userDrawn="1">
          <p15:clr>
            <a:srgbClr val="F26B43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//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4943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82F7FFF-4C5B-4019-9384-D49F46D526EB}"/>
              </a:ext>
            </a:extLst>
          </p:cNvPr>
          <p:cNvGrpSpPr/>
          <p:nvPr/>
        </p:nvGrpSpPr>
        <p:grpSpPr>
          <a:xfrm>
            <a:off x="218788" y="4130611"/>
            <a:ext cx="11754424" cy="2396064"/>
            <a:chOff x="705451" y="5067472"/>
            <a:chExt cx="11671993" cy="237926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586F8AD-DF01-425F-82E1-C7B3B54D2332}"/>
                </a:ext>
              </a:extLst>
            </p:cNvPr>
            <p:cNvGrpSpPr/>
            <p:nvPr/>
          </p:nvGrpSpPr>
          <p:grpSpPr>
            <a:xfrm>
              <a:off x="705451" y="5067472"/>
              <a:ext cx="11671993" cy="2379260"/>
              <a:chOff x="833963" y="4724559"/>
              <a:chExt cx="13798285" cy="2812691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D9BEDEC5-A311-4772-8ED2-5EF31FB83501}"/>
                  </a:ext>
                </a:extLst>
              </p:cNvPr>
              <p:cNvSpPr/>
              <p:nvPr/>
            </p:nvSpPr>
            <p:spPr>
              <a:xfrm>
                <a:off x="833963" y="4724559"/>
                <a:ext cx="13276469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FE7D64E6-1F9F-4943-B9B8-CBECB838132F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</p:grpSp>
        <p:sp>
          <p:nvSpPr>
            <p:cNvPr id="17" name="Freeform 38">
              <a:extLst>
                <a:ext uri="{FF2B5EF4-FFF2-40B4-BE49-F238E27FC236}">
                  <a16:creationId xmlns:a16="http://schemas.microsoft.com/office/drawing/2014/main" id="{DB665266-C462-42A5-A4D5-0A4E4B3C8209}"/>
                </a:ext>
              </a:extLst>
            </p:cNvPr>
            <p:cNvSpPr/>
            <p:nvPr/>
          </p:nvSpPr>
          <p:spPr>
            <a:xfrm rot="10800000">
              <a:off x="7015354" y="5067473"/>
              <a:ext cx="3171078" cy="2379259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877803" y="1443354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egular"/>
                <a:ea typeface="+mn-ea"/>
                <a:cs typeface="+mn-cs"/>
              </a:endParaRPr>
            </a:p>
          </p:txBody>
        </p:sp>
      </p:grp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B74C0010-5739-4C1C-9594-DB2D0795E5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53291 w 12192000"/>
              <a:gd name="connsiteY0" fmla="*/ 4130612 h 6858000"/>
              <a:gd name="connsiteX1" fmla="*/ 353291 w 12192000"/>
              <a:gd name="connsiteY1" fmla="*/ 6524625 h 6858000"/>
              <a:gd name="connsiteX2" fmla="*/ 11838710 w 12192000"/>
              <a:gd name="connsiteY2" fmla="*/ 6524625 h 6858000"/>
              <a:gd name="connsiteX3" fmla="*/ 11838710 w 12192000"/>
              <a:gd name="connsiteY3" fmla="*/ 413061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53291" y="4130612"/>
                </a:moveTo>
                <a:lnTo>
                  <a:pt x="353291" y="6524625"/>
                </a:lnTo>
                <a:lnTo>
                  <a:pt x="11838710" y="6524625"/>
                </a:lnTo>
                <a:lnTo>
                  <a:pt x="11838710" y="413061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0" name="Freeform 41">
            <a:extLst>
              <a:ext uri="{FF2B5EF4-FFF2-40B4-BE49-F238E27FC236}">
                <a16:creationId xmlns:a16="http://schemas.microsoft.com/office/drawing/2014/main" id="{1E5B25EA-22B1-4940-A934-A419BAD5BEFE}"/>
              </a:ext>
            </a:extLst>
          </p:cNvPr>
          <p:cNvSpPr/>
          <p:nvPr/>
        </p:nvSpPr>
        <p:spPr>
          <a:xfrm>
            <a:off x="9034179" y="4306161"/>
            <a:ext cx="2639923" cy="2188975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B347AC67-6751-45BD-920D-C7678E7227D7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2919" y="4670750"/>
            <a:ext cx="3007747" cy="503746"/>
          </a:xfrm>
          <a:prstGeom prst="rect">
            <a:avLst/>
          </a:prstGeom>
        </p:spPr>
      </p:pic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19B77B6-560F-4AB3-8F49-584C755101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4713" y="4589979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3200" kern="100" spc="0" baseline="0">
                <a:solidFill>
                  <a:schemeClr val="bg1"/>
                </a:solidFill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graphicFrame>
        <p:nvGraphicFramePr>
          <p:cNvPr id="13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91044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84" imgH="385" progId="TCLayout.ActiveDocument.1">
                  <p:embed/>
                </p:oleObj>
              </mc:Choice>
              <mc:Fallback>
                <p:oleObj name="think-cell Folie" r:id="rId9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Freeform 41">
            <a:extLst>
              <a:ext uri="{FF2B5EF4-FFF2-40B4-BE49-F238E27FC236}">
                <a16:creationId xmlns:a16="http://schemas.microsoft.com/office/drawing/2014/main" id="{1E5B25EA-22B1-4940-A934-A419BAD5BEFE}"/>
              </a:ext>
            </a:extLst>
          </p:cNvPr>
          <p:cNvSpPr/>
          <p:nvPr userDrawn="1"/>
        </p:nvSpPr>
        <p:spPr>
          <a:xfrm>
            <a:off x="9034179" y="4306161"/>
            <a:ext cx="2639923" cy="2188975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5" name="Grafik 7">
            <a:extLst>
              <a:ext uri="{FF2B5EF4-FFF2-40B4-BE49-F238E27FC236}">
                <a16:creationId xmlns:a16="http://schemas.microsoft.com/office/drawing/2014/main" id="{B347AC67-6751-45BD-920D-C7678E7227D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2919" y="4670750"/>
            <a:ext cx="3007747" cy="503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986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551" userDrawn="1">
          <p15:clr>
            <a:srgbClr val="A4A3A4"/>
          </p15:clr>
        </p15:guide>
        <p15:guide id="12" pos="483" userDrawn="1">
          <p15:clr>
            <a:srgbClr val="A4A3A4"/>
          </p15:clr>
        </p15:guide>
        <p15:guide id="13" orient="horz" pos="754" userDrawn="1">
          <p15:clr>
            <a:srgbClr val="A4A3A4"/>
          </p15:clr>
        </p15:guide>
        <p15:guide id="14" orient="horz" pos="640" userDrawn="1">
          <p15:clr>
            <a:srgbClr val="A4A3A4"/>
          </p15:clr>
        </p15:guide>
        <p15:guide id="15" orient="horz" pos="4065" userDrawn="1">
          <p15:clr>
            <a:srgbClr val="A4A3A4"/>
          </p15:clr>
        </p15:guide>
        <p15:guide id="16" pos="7197" userDrawn="1">
          <p15:clr>
            <a:srgbClr val="A4A3A4"/>
          </p15:clr>
        </p15:guide>
        <p15:guide id="17" orient="horz" pos="4110" userDrawn="1">
          <p15:clr>
            <a:srgbClr val="F26B43"/>
          </p15:clr>
        </p15:guide>
        <p15:guide id="18" pos="226" userDrawn="1">
          <p15:clr>
            <a:srgbClr val="F26B43"/>
          </p15:clr>
        </p15:guide>
        <p15:guide id="19" pos="7452" userDrawn="1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mit Partnerlogo //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5855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9" name="Group 13">
            <a:extLst>
              <a:ext uri="{FF2B5EF4-FFF2-40B4-BE49-F238E27FC236}">
                <a16:creationId xmlns:a16="http://schemas.microsoft.com/office/drawing/2014/main" id="{335203DB-BB95-45FD-92B6-E081F17DE4F9}"/>
              </a:ext>
            </a:extLst>
          </p:cNvPr>
          <p:cNvGrpSpPr/>
          <p:nvPr/>
        </p:nvGrpSpPr>
        <p:grpSpPr>
          <a:xfrm>
            <a:off x="218788" y="4130611"/>
            <a:ext cx="11754424" cy="2396064"/>
            <a:chOff x="705451" y="5067472"/>
            <a:chExt cx="11671993" cy="2379260"/>
          </a:xfrm>
        </p:grpSpPr>
        <p:grpSp>
          <p:nvGrpSpPr>
            <p:cNvPr id="30" name="Group 15">
              <a:extLst>
                <a:ext uri="{FF2B5EF4-FFF2-40B4-BE49-F238E27FC236}">
                  <a16:creationId xmlns:a16="http://schemas.microsoft.com/office/drawing/2014/main" id="{AAA4E5A4-94CD-4627-AE97-DEF771CC8485}"/>
                </a:ext>
              </a:extLst>
            </p:cNvPr>
            <p:cNvGrpSpPr/>
            <p:nvPr/>
          </p:nvGrpSpPr>
          <p:grpSpPr>
            <a:xfrm>
              <a:off x="705451" y="5067472"/>
              <a:ext cx="11671993" cy="2379260"/>
              <a:chOff x="833963" y="4724559"/>
              <a:chExt cx="13798285" cy="2812691"/>
            </a:xfrm>
          </p:grpSpPr>
          <p:sp>
            <p:nvSpPr>
              <p:cNvPr id="32" name="Rectangle 17">
                <a:extLst>
                  <a:ext uri="{FF2B5EF4-FFF2-40B4-BE49-F238E27FC236}">
                    <a16:creationId xmlns:a16="http://schemas.microsoft.com/office/drawing/2014/main" id="{49DF0C5F-5F84-4CEC-84D6-C9910C47507D}"/>
                  </a:ext>
                </a:extLst>
              </p:cNvPr>
              <p:cNvSpPr/>
              <p:nvPr/>
            </p:nvSpPr>
            <p:spPr>
              <a:xfrm>
                <a:off x="833963" y="4724559"/>
                <a:ext cx="13276469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  <p:sp>
            <p:nvSpPr>
              <p:cNvPr id="33" name="Rectangle 18">
                <a:extLst>
                  <a:ext uri="{FF2B5EF4-FFF2-40B4-BE49-F238E27FC236}">
                    <a16:creationId xmlns:a16="http://schemas.microsoft.com/office/drawing/2014/main" id="{5C7CF1D4-9F77-4732-A3CE-9212756F6675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</p:grpSp>
        <p:sp>
          <p:nvSpPr>
            <p:cNvPr id="31" name="Freeform 38">
              <a:extLst>
                <a:ext uri="{FF2B5EF4-FFF2-40B4-BE49-F238E27FC236}">
                  <a16:creationId xmlns:a16="http://schemas.microsoft.com/office/drawing/2014/main" id="{1B2B8562-DFB8-4D2A-A47E-0EBC958016A1}"/>
                </a:ext>
              </a:extLst>
            </p:cNvPr>
            <p:cNvSpPr/>
            <p:nvPr/>
          </p:nvSpPr>
          <p:spPr>
            <a:xfrm rot="10800000">
              <a:off x="7015354" y="5067473"/>
              <a:ext cx="3171078" cy="2379259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877803" y="1443354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egular"/>
                <a:ea typeface="+mn-ea"/>
                <a:cs typeface="+mn-cs"/>
              </a:endParaRPr>
            </a:p>
          </p:txBody>
        </p:sp>
      </p:grpSp>
      <p:grpSp>
        <p:nvGrpSpPr>
          <p:cNvPr id="15" name="Group 13">
            <a:extLst>
              <a:ext uri="{FF2B5EF4-FFF2-40B4-BE49-F238E27FC236}">
                <a16:creationId xmlns:a16="http://schemas.microsoft.com/office/drawing/2014/main" id="{87F5A82D-EEDB-48C0-9382-EE0628DDB34F}"/>
              </a:ext>
            </a:extLst>
          </p:cNvPr>
          <p:cNvGrpSpPr/>
          <p:nvPr/>
        </p:nvGrpSpPr>
        <p:grpSpPr>
          <a:xfrm>
            <a:off x="359290" y="4130611"/>
            <a:ext cx="11613922" cy="2396064"/>
            <a:chOff x="844968" y="5067472"/>
            <a:chExt cx="11532476" cy="2379260"/>
          </a:xfrm>
        </p:grpSpPr>
        <p:grpSp>
          <p:nvGrpSpPr>
            <p:cNvPr id="22" name="Group 15">
              <a:extLst>
                <a:ext uri="{FF2B5EF4-FFF2-40B4-BE49-F238E27FC236}">
                  <a16:creationId xmlns:a16="http://schemas.microsoft.com/office/drawing/2014/main" id="{0C85F3B6-DE09-41F2-92AB-4AF818562994}"/>
                </a:ext>
              </a:extLst>
            </p:cNvPr>
            <p:cNvGrpSpPr/>
            <p:nvPr/>
          </p:nvGrpSpPr>
          <p:grpSpPr>
            <a:xfrm>
              <a:off x="844968" y="5067472"/>
              <a:ext cx="11532476" cy="2379260"/>
              <a:chOff x="998896" y="4724559"/>
              <a:chExt cx="13633352" cy="2812691"/>
            </a:xfrm>
          </p:grpSpPr>
          <p:sp>
            <p:nvSpPr>
              <p:cNvPr id="27" name="Rectangle 17">
                <a:extLst>
                  <a:ext uri="{FF2B5EF4-FFF2-40B4-BE49-F238E27FC236}">
                    <a16:creationId xmlns:a16="http://schemas.microsoft.com/office/drawing/2014/main" id="{9D1197FA-2349-4878-8140-4CBC5EC9E534}"/>
                  </a:ext>
                </a:extLst>
              </p:cNvPr>
              <p:cNvSpPr/>
              <p:nvPr/>
            </p:nvSpPr>
            <p:spPr>
              <a:xfrm>
                <a:off x="998896" y="4724559"/>
                <a:ext cx="13111536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  <p:sp>
            <p:nvSpPr>
              <p:cNvPr id="28" name="Rectangle 18">
                <a:extLst>
                  <a:ext uri="{FF2B5EF4-FFF2-40B4-BE49-F238E27FC236}">
                    <a16:creationId xmlns:a16="http://schemas.microsoft.com/office/drawing/2014/main" id="{5CD863F0-DA7E-4ED3-9AFB-3FC439CFDF59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</p:grpSp>
        <p:sp>
          <p:nvSpPr>
            <p:cNvPr id="24" name="Freeform 38">
              <a:extLst>
                <a:ext uri="{FF2B5EF4-FFF2-40B4-BE49-F238E27FC236}">
                  <a16:creationId xmlns:a16="http://schemas.microsoft.com/office/drawing/2014/main" id="{725F7311-C3D1-45E1-B266-854264697917}"/>
                </a:ext>
              </a:extLst>
            </p:cNvPr>
            <p:cNvSpPr/>
            <p:nvPr/>
          </p:nvSpPr>
          <p:spPr>
            <a:xfrm rot="10800000">
              <a:off x="7015354" y="5067473"/>
              <a:ext cx="3171078" cy="2379259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877803" y="1443354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egular"/>
                <a:ea typeface="+mn-ea"/>
                <a:cs typeface="+mn-cs"/>
              </a:endParaRPr>
            </a:p>
          </p:txBody>
        </p:sp>
      </p:grp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B74C0010-5739-4C1C-9594-DB2D0795E5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53291 w 12192000"/>
              <a:gd name="connsiteY0" fmla="*/ 4130612 h 6858000"/>
              <a:gd name="connsiteX1" fmla="*/ 353291 w 12192000"/>
              <a:gd name="connsiteY1" fmla="*/ 6524625 h 6858000"/>
              <a:gd name="connsiteX2" fmla="*/ 11838710 w 12192000"/>
              <a:gd name="connsiteY2" fmla="*/ 6524625 h 6858000"/>
              <a:gd name="connsiteX3" fmla="*/ 11838710 w 12192000"/>
              <a:gd name="connsiteY3" fmla="*/ 413061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53291" y="4130612"/>
                </a:moveTo>
                <a:lnTo>
                  <a:pt x="353291" y="6524625"/>
                </a:lnTo>
                <a:lnTo>
                  <a:pt x="11838710" y="6524625"/>
                </a:lnTo>
                <a:lnTo>
                  <a:pt x="11838710" y="413061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0" name="Freeform 41">
            <a:extLst>
              <a:ext uri="{FF2B5EF4-FFF2-40B4-BE49-F238E27FC236}">
                <a16:creationId xmlns:a16="http://schemas.microsoft.com/office/drawing/2014/main" id="{1E5B25EA-22B1-4940-A934-A419BAD5BEFE}"/>
              </a:ext>
            </a:extLst>
          </p:cNvPr>
          <p:cNvSpPr/>
          <p:nvPr/>
        </p:nvSpPr>
        <p:spPr>
          <a:xfrm>
            <a:off x="9034179" y="4306161"/>
            <a:ext cx="2639923" cy="2188975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B347AC67-6751-45BD-920D-C7678E7227D7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2919" y="4670750"/>
            <a:ext cx="3007747" cy="503746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35A0093-C8EA-44AF-B4B0-FF9BBF7FEE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4713" y="4589979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3200" kern="100" spc="0" baseline="0">
                <a:solidFill>
                  <a:schemeClr val="bg1"/>
                </a:solidFill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6C0C2256-F31B-4578-8FDF-D88F94784B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582025" y="5438409"/>
            <a:ext cx="2206625" cy="552450"/>
          </a:xfrm>
          <a:custGeom>
            <a:avLst/>
            <a:gdLst>
              <a:gd name="connsiteX0" fmla="*/ 92077 w 2206625"/>
              <a:gd name="connsiteY0" fmla="*/ 0 h 552450"/>
              <a:gd name="connsiteX1" fmla="*/ 2114548 w 2206625"/>
              <a:gd name="connsiteY1" fmla="*/ 0 h 552450"/>
              <a:gd name="connsiteX2" fmla="*/ 2206625 w 2206625"/>
              <a:gd name="connsiteY2" fmla="*/ 92077 h 552450"/>
              <a:gd name="connsiteX3" fmla="*/ 2206625 w 2206625"/>
              <a:gd name="connsiteY3" fmla="*/ 460373 h 552450"/>
              <a:gd name="connsiteX4" fmla="*/ 2114548 w 2206625"/>
              <a:gd name="connsiteY4" fmla="*/ 552450 h 552450"/>
              <a:gd name="connsiteX5" fmla="*/ 92077 w 2206625"/>
              <a:gd name="connsiteY5" fmla="*/ 552450 h 552450"/>
              <a:gd name="connsiteX6" fmla="*/ 0 w 2206625"/>
              <a:gd name="connsiteY6" fmla="*/ 460373 h 552450"/>
              <a:gd name="connsiteX7" fmla="*/ 0 w 2206625"/>
              <a:gd name="connsiteY7" fmla="*/ 92077 h 552450"/>
              <a:gd name="connsiteX8" fmla="*/ 92077 w 2206625"/>
              <a:gd name="connsiteY8" fmla="*/ 0 h 552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06625" h="552450">
                <a:moveTo>
                  <a:pt x="92077" y="0"/>
                </a:moveTo>
                <a:lnTo>
                  <a:pt x="2114548" y="0"/>
                </a:lnTo>
                <a:cubicBezTo>
                  <a:pt x="2165401" y="0"/>
                  <a:pt x="2206625" y="41224"/>
                  <a:pt x="2206625" y="92077"/>
                </a:cubicBezTo>
                <a:lnTo>
                  <a:pt x="2206625" y="460373"/>
                </a:lnTo>
                <a:cubicBezTo>
                  <a:pt x="2206625" y="511226"/>
                  <a:pt x="2165401" y="552450"/>
                  <a:pt x="2114548" y="552450"/>
                </a:cubicBezTo>
                <a:lnTo>
                  <a:pt x="92077" y="552450"/>
                </a:lnTo>
                <a:cubicBezTo>
                  <a:pt x="41224" y="552450"/>
                  <a:pt x="0" y="511226"/>
                  <a:pt x="0" y="460373"/>
                </a:cubicBezTo>
                <a:lnTo>
                  <a:pt x="0" y="92077"/>
                </a:lnTo>
                <a:cubicBezTo>
                  <a:pt x="0" y="41224"/>
                  <a:pt x="41224" y="0"/>
                  <a:pt x="92077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graphicFrame>
        <p:nvGraphicFramePr>
          <p:cNvPr id="19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35464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84" imgH="385" progId="TCLayout.ActiveDocument.1">
                  <p:embed/>
                </p:oleObj>
              </mc:Choice>
              <mc:Fallback>
                <p:oleObj name="think-cell Folie" r:id="rId9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35" name="Group 13">
            <a:extLst>
              <a:ext uri="{FF2B5EF4-FFF2-40B4-BE49-F238E27FC236}">
                <a16:creationId xmlns:a16="http://schemas.microsoft.com/office/drawing/2014/main" id="{335203DB-BB95-45FD-92B6-E081F17DE4F9}"/>
              </a:ext>
            </a:extLst>
          </p:cNvPr>
          <p:cNvGrpSpPr/>
          <p:nvPr userDrawn="1"/>
        </p:nvGrpSpPr>
        <p:grpSpPr>
          <a:xfrm>
            <a:off x="218788" y="4130611"/>
            <a:ext cx="11754424" cy="2396064"/>
            <a:chOff x="705451" y="5067472"/>
            <a:chExt cx="11671993" cy="2379260"/>
          </a:xfrm>
        </p:grpSpPr>
        <p:grpSp>
          <p:nvGrpSpPr>
            <p:cNvPr id="36" name="Group 15">
              <a:extLst>
                <a:ext uri="{FF2B5EF4-FFF2-40B4-BE49-F238E27FC236}">
                  <a16:creationId xmlns:a16="http://schemas.microsoft.com/office/drawing/2014/main" id="{AAA4E5A4-94CD-4627-AE97-DEF771CC8485}"/>
                </a:ext>
              </a:extLst>
            </p:cNvPr>
            <p:cNvGrpSpPr/>
            <p:nvPr/>
          </p:nvGrpSpPr>
          <p:grpSpPr>
            <a:xfrm>
              <a:off x="705451" y="5067472"/>
              <a:ext cx="11671993" cy="2379260"/>
              <a:chOff x="833963" y="4724559"/>
              <a:chExt cx="13798285" cy="2812691"/>
            </a:xfrm>
          </p:grpSpPr>
          <p:sp>
            <p:nvSpPr>
              <p:cNvPr id="38" name="Rectangle 17">
                <a:extLst>
                  <a:ext uri="{FF2B5EF4-FFF2-40B4-BE49-F238E27FC236}">
                    <a16:creationId xmlns:a16="http://schemas.microsoft.com/office/drawing/2014/main" id="{49DF0C5F-5F84-4CEC-84D6-C9910C47507D}"/>
                  </a:ext>
                </a:extLst>
              </p:cNvPr>
              <p:cNvSpPr/>
              <p:nvPr/>
            </p:nvSpPr>
            <p:spPr>
              <a:xfrm>
                <a:off x="833963" y="4724559"/>
                <a:ext cx="13276469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  <p:sp>
            <p:nvSpPr>
              <p:cNvPr id="39" name="Rectangle 18">
                <a:extLst>
                  <a:ext uri="{FF2B5EF4-FFF2-40B4-BE49-F238E27FC236}">
                    <a16:creationId xmlns:a16="http://schemas.microsoft.com/office/drawing/2014/main" id="{5C7CF1D4-9F77-4732-A3CE-9212756F6675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</p:grpSp>
        <p:sp>
          <p:nvSpPr>
            <p:cNvPr id="37" name="Freeform 38">
              <a:extLst>
                <a:ext uri="{FF2B5EF4-FFF2-40B4-BE49-F238E27FC236}">
                  <a16:creationId xmlns:a16="http://schemas.microsoft.com/office/drawing/2014/main" id="{1B2B8562-DFB8-4D2A-A47E-0EBC958016A1}"/>
                </a:ext>
              </a:extLst>
            </p:cNvPr>
            <p:cNvSpPr/>
            <p:nvPr/>
          </p:nvSpPr>
          <p:spPr>
            <a:xfrm rot="10800000">
              <a:off x="7015354" y="5067473"/>
              <a:ext cx="3171078" cy="2379259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877803" y="1443354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egular"/>
                <a:ea typeface="+mn-ea"/>
                <a:cs typeface="+mn-cs"/>
              </a:endParaRPr>
            </a:p>
          </p:txBody>
        </p:sp>
      </p:grpSp>
      <p:grpSp>
        <p:nvGrpSpPr>
          <p:cNvPr id="40" name="Group 13">
            <a:extLst>
              <a:ext uri="{FF2B5EF4-FFF2-40B4-BE49-F238E27FC236}">
                <a16:creationId xmlns:a16="http://schemas.microsoft.com/office/drawing/2014/main" id="{87F5A82D-EEDB-48C0-9382-EE0628DDB34F}"/>
              </a:ext>
            </a:extLst>
          </p:cNvPr>
          <p:cNvGrpSpPr/>
          <p:nvPr userDrawn="1"/>
        </p:nvGrpSpPr>
        <p:grpSpPr>
          <a:xfrm>
            <a:off x="359290" y="4130611"/>
            <a:ext cx="11613922" cy="2396064"/>
            <a:chOff x="844968" y="5067472"/>
            <a:chExt cx="11532476" cy="2379260"/>
          </a:xfrm>
        </p:grpSpPr>
        <p:grpSp>
          <p:nvGrpSpPr>
            <p:cNvPr id="41" name="Group 15">
              <a:extLst>
                <a:ext uri="{FF2B5EF4-FFF2-40B4-BE49-F238E27FC236}">
                  <a16:creationId xmlns:a16="http://schemas.microsoft.com/office/drawing/2014/main" id="{0C85F3B6-DE09-41F2-92AB-4AF818562994}"/>
                </a:ext>
              </a:extLst>
            </p:cNvPr>
            <p:cNvGrpSpPr/>
            <p:nvPr/>
          </p:nvGrpSpPr>
          <p:grpSpPr>
            <a:xfrm>
              <a:off x="844968" y="5067472"/>
              <a:ext cx="11532476" cy="2379260"/>
              <a:chOff x="998896" y="4724559"/>
              <a:chExt cx="13633352" cy="2812691"/>
            </a:xfrm>
          </p:grpSpPr>
          <p:sp>
            <p:nvSpPr>
              <p:cNvPr id="43" name="Rectangle 17">
                <a:extLst>
                  <a:ext uri="{FF2B5EF4-FFF2-40B4-BE49-F238E27FC236}">
                    <a16:creationId xmlns:a16="http://schemas.microsoft.com/office/drawing/2014/main" id="{9D1197FA-2349-4878-8140-4CBC5EC9E534}"/>
                  </a:ext>
                </a:extLst>
              </p:cNvPr>
              <p:cNvSpPr/>
              <p:nvPr/>
            </p:nvSpPr>
            <p:spPr>
              <a:xfrm>
                <a:off x="998896" y="4724559"/>
                <a:ext cx="13111536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  <p:sp>
            <p:nvSpPr>
              <p:cNvPr id="44" name="Rectangle 18">
                <a:extLst>
                  <a:ext uri="{FF2B5EF4-FFF2-40B4-BE49-F238E27FC236}">
                    <a16:creationId xmlns:a16="http://schemas.microsoft.com/office/drawing/2014/main" id="{5CD863F0-DA7E-4ED3-9AFB-3FC439CFDF59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</p:grpSp>
        <p:sp>
          <p:nvSpPr>
            <p:cNvPr id="42" name="Freeform 38">
              <a:extLst>
                <a:ext uri="{FF2B5EF4-FFF2-40B4-BE49-F238E27FC236}">
                  <a16:creationId xmlns:a16="http://schemas.microsoft.com/office/drawing/2014/main" id="{725F7311-C3D1-45E1-B266-854264697917}"/>
                </a:ext>
              </a:extLst>
            </p:cNvPr>
            <p:cNvSpPr/>
            <p:nvPr/>
          </p:nvSpPr>
          <p:spPr>
            <a:xfrm rot="10800000">
              <a:off x="7015354" y="5067473"/>
              <a:ext cx="3171078" cy="2379259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877803" y="1443354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egular"/>
                <a:ea typeface="+mn-ea"/>
                <a:cs typeface="+mn-cs"/>
              </a:endParaRPr>
            </a:p>
          </p:txBody>
        </p:sp>
      </p:grpSp>
      <p:sp>
        <p:nvSpPr>
          <p:cNvPr id="45" name="Freeform 41">
            <a:extLst>
              <a:ext uri="{FF2B5EF4-FFF2-40B4-BE49-F238E27FC236}">
                <a16:creationId xmlns:a16="http://schemas.microsoft.com/office/drawing/2014/main" id="{1E5B25EA-22B1-4940-A934-A419BAD5BEFE}"/>
              </a:ext>
            </a:extLst>
          </p:cNvPr>
          <p:cNvSpPr/>
          <p:nvPr userDrawn="1"/>
        </p:nvSpPr>
        <p:spPr>
          <a:xfrm>
            <a:off x="9034179" y="4306161"/>
            <a:ext cx="2639923" cy="2188975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46" name="Grafik 7">
            <a:extLst>
              <a:ext uri="{FF2B5EF4-FFF2-40B4-BE49-F238E27FC236}">
                <a16:creationId xmlns:a16="http://schemas.microsoft.com/office/drawing/2014/main" id="{B347AC67-6751-45BD-920D-C7678E7227D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2919" y="4670750"/>
            <a:ext cx="3007747" cy="503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4871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551" userDrawn="1">
          <p15:clr>
            <a:srgbClr val="A4A3A4"/>
          </p15:clr>
        </p15:guide>
        <p15:guide id="12" pos="483" userDrawn="1">
          <p15:clr>
            <a:srgbClr val="A4A3A4"/>
          </p15:clr>
        </p15:guide>
        <p15:guide id="13" orient="horz" pos="754" userDrawn="1">
          <p15:clr>
            <a:srgbClr val="A4A3A4"/>
          </p15:clr>
        </p15:guide>
        <p15:guide id="14" orient="horz" pos="640" userDrawn="1">
          <p15:clr>
            <a:srgbClr val="A4A3A4"/>
          </p15:clr>
        </p15:guide>
        <p15:guide id="15" orient="horz" pos="4065" userDrawn="1">
          <p15:clr>
            <a:srgbClr val="A4A3A4"/>
          </p15:clr>
        </p15:guide>
        <p15:guide id="16" pos="7197" userDrawn="1">
          <p15:clr>
            <a:srgbClr val="A4A3A4"/>
          </p15:clr>
        </p15:guide>
        <p15:guide id="17" orient="horz" pos="4110" userDrawn="1">
          <p15:clr>
            <a:srgbClr val="F26B43"/>
          </p15:clr>
        </p15:guide>
        <p15:guide id="18" pos="226" userDrawn="1">
          <p15:clr>
            <a:srgbClr val="F26B43"/>
          </p15:clr>
        </p15:guide>
        <p15:guide id="19" pos="7452" userDrawn="1">
          <p15:clr>
            <a:srgbClr val="F26B43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odfolie // Bilplatzhalter mit Text (1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662DB07-81B8-4BDA-8345-7D0D9D3C5C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6220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662DB07-81B8-4BDA-8345-7D0D9D3C5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7AFB56EF-E792-40E5-AEB2-936FD2D0D4D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61991 w 12192000"/>
              <a:gd name="connsiteY0" fmla="*/ 339114 h 6858000"/>
              <a:gd name="connsiteX1" fmla="*/ 1 w 12192000"/>
              <a:gd name="connsiteY1" fmla="*/ 410557 h 6858000"/>
              <a:gd name="connsiteX2" fmla="*/ 1 w 12192000"/>
              <a:gd name="connsiteY2" fmla="*/ 421468 h 6858000"/>
              <a:gd name="connsiteX3" fmla="*/ 1 w 12192000"/>
              <a:gd name="connsiteY3" fmla="*/ 426812 h 6858000"/>
              <a:gd name="connsiteX4" fmla="*/ 1 w 12192000"/>
              <a:gd name="connsiteY4" fmla="*/ 445011 h 6858000"/>
              <a:gd name="connsiteX5" fmla="*/ 1 w 12192000"/>
              <a:gd name="connsiteY5" fmla="*/ 465201 h 6858000"/>
              <a:gd name="connsiteX6" fmla="*/ 1 w 12192000"/>
              <a:gd name="connsiteY6" fmla="*/ 470545 h 6858000"/>
              <a:gd name="connsiteX7" fmla="*/ 1 w 12192000"/>
              <a:gd name="connsiteY7" fmla="*/ 490176 h 6858000"/>
              <a:gd name="connsiteX8" fmla="*/ 1 w 12192000"/>
              <a:gd name="connsiteY8" fmla="*/ 510367 h 6858000"/>
              <a:gd name="connsiteX9" fmla="*/ 1 w 12192000"/>
              <a:gd name="connsiteY9" fmla="*/ 515710 h 6858000"/>
              <a:gd name="connsiteX10" fmla="*/ 1 w 12192000"/>
              <a:gd name="connsiteY10" fmla="*/ 523515 h 6858000"/>
              <a:gd name="connsiteX11" fmla="*/ 1 w 12192000"/>
              <a:gd name="connsiteY11" fmla="*/ 533909 h 6858000"/>
              <a:gd name="connsiteX12" fmla="*/ 1 w 12192000"/>
              <a:gd name="connsiteY12" fmla="*/ 543706 h 6858000"/>
              <a:gd name="connsiteX13" fmla="*/ 1 w 12192000"/>
              <a:gd name="connsiteY13" fmla="*/ 549050 h 6858000"/>
              <a:gd name="connsiteX14" fmla="*/ 1 w 12192000"/>
              <a:gd name="connsiteY14" fmla="*/ 554100 h 6858000"/>
              <a:gd name="connsiteX15" fmla="*/ 1 w 12192000"/>
              <a:gd name="connsiteY15" fmla="*/ 559443 h 6858000"/>
              <a:gd name="connsiteX16" fmla="*/ 1 w 12192000"/>
              <a:gd name="connsiteY16" fmla="*/ 567248 h 6858000"/>
              <a:gd name="connsiteX17" fmla="*/ 1 w 12192000"/>
              <a:gd name="connsiteY17" fmla="*/ 587439 h 6858000"/>
              <a:gd name="connsiteX18" fmla="*/ 1 w 12192000"/>
              <a:gd name="connsiteY18" fmla="*/ 592783 h 6858000"/>
              <a:gd name="connsiteX19" fmla="*/ 1 w 12192000"/>
              <a:gd name="connsiteY19" fmla="*/ 612414 h 6858000"/>
              <a:gd name="connsiteX20" fmla="*/ 1 w 12192000"/>
              <a:gd name="connsiteY20" fmla="*/ 632604 h 6858000"/>
              <a:gd name="connsiteX21" fmla="*/ 1 w 12192000"/>
              <a:gd name="connsiteY21" fmla="*/ 637948 h 6858000"/>
              <a:gd name="connsiteX22" fmla="*/ 1 w 12192000"/>
              <a:gd name="connsiteY22" fmla="*/ 656147 h 6858000"/>
              <a:gd name="connsiteX23" fmla="*/ 1 w 12192000"/>
              <a:gd name="connsiteY23" fmla="*/ 676337 h 6858000"/>
              <a:gd name="connsiteX24" fmla="*/ 1 w 12192000"/>
              <a:gd name="connsiteY24" fmla="*/ 681681 h 6858000"/>
              <a:gd name="connsiteX25" fmla="*/ 1 w 12192000"/>
              <a:gd name="connsiteY25" fmla="*/ 744823 h 6858000"/>
              <a:gd name="connsiteX26" fmla="*/ 1 w 12192000"/>
              <a:gd name="connsiteY26" fmla="*/ 744923 h 6858000"/>
              <a:gd name="connsiteX27" fmla="*/ 1 w 12192000"/>
              <a:gd name="connsiteY27" fmla="*/ 788556 h 6858000"/>
              <a:gd name="connsiteX28" fmla="*/ 1 w 12192000"/>
              <a:gd name="connsiteY28" fmla="*/ 788656 h 6858000"/>
              <a:gd name="connsiteX29" fmla="*/ 1 w 12192000"/>
              <a:gd name="connsiteY29" fmla="*/ 806425 h 6858000"/>
              <a:gd name="connsiteX30" fmla="*/ 1 w 12192000"/>
              <a:gd name="connsiteY30" fmla="*/ 826616 h 6858000"/>
              <a:gd name="connsiteX31" fmla="*/ 1 w 12192000"/>
              <a:gd name="connsiteY31" fmla="*/ 833721 h 6858000"/>
              <a:gd name="connsiteX32" fmla="*/ 1 w 12192000"/>
              <a:gd name="connsiteY32" fmla="*/ 833821 h 6858000"/>
              <a:gd name="connsiteX33" fmla="*/ 1 w 12192000"/>
              <a:gd name="connsiteY33" fmla="*/ 850158 h 6858000"/>
              <a:gd name="connsiteX34" fmla="*/ 1 w 12192000"/>
              <a:gd name="connsiteY34" fmla="*/ 867061 h 6858000"/>
              <a:gd name="connsiteX35" fmla="*/ 1 w 12192000"/>
              <a:gd name="connsiteY35" fmla="*/ 867160 h 6858000"/>
              <a:gd name="connsiteX36" fmla="*/ 1 w 12192000"/>
              <a:gd name="connsiteY36" fmla="*/ 870349 h 6858000"/>
              <a:gd name="connsiteX37" fmla="*/ 1 w 12192000"/>
              <a:gd name="connsiteY37" fmla="*/ 877454 h 6858000"/>
              <a:gd name="connsiteX38" fmla="*/ 1 w 12192000"/>
              <a:gd name="connsiteY38" fmla="*/ 877554 h 6858000"/>
              <a:gd name="connsiteX39" fmla="*/ 1 w 12192000"/>
              <a:gd name="connsiteY39" fmla="*/ 895324 h 6858000"/>
              <a:gd name="connsiteX40" fmla="*/ 1 w 12192000"/>
              <a:gd name="connsiteY40" fmla="*/ 910794 h 6858000"/>
              <a:gd name="connsiteX41" fmla="*/ 1 w 12192000"/>
              <a:gd name="connsiteY41" fmla="*/ 910893 h 6858000"/>
              <a:gd name="connsiteX42" fmla="*/ 1 w 12192000"/>
              <a:gd name="connsiteY42" fmla="*/ 915514 h 6858000"/>
              <a:gd name="connsiteX43" fmla="*/ 1 w 12192000"/>
              <a:gd name="connsiteY43" fmla="*/ 928663 h 6858000"/>
              <a:gd name="connsiteX44" fmla="*/ 1 w 12192000"/>
              <a:gd name="connsiteY44" fmla="*/ 939057 h 6858000"/>
              <a:gd name="connsiteX45" fmla="*/ 1 w 12192000"/>
              <a:gd name="connsiteY45" fmla="*/ 948854 h 6858000"/>
              <a:gd name="connsiteX46" fmla="*/ 1 w 12192000"/>
              <a:gd name="connsiteY46" fmla="*/ 955959 h 6858000"/>
              <a:gd name="connsiteX47" fmla="*/ 1 w 12192000"/>
              <a:gd name="connsiteY47" fmla="*/ 956059 h 6858000"/>
              <a:gd name="connsiteX48" fmla="*/ 1 w 12192000"/>
              <a:gd name="connsiteY48" fmla="*/ 959247 h 6858000"/>
              <a:gd name="connsiteX49" fmla="*/ 1 w 12192000"/>
              <a:gd name="connsiteY49" fmla="*/ 972396 h 6858000"/>
              <a:gd name="connsiteX50" fmla="*/ 1 w 12192000"/>
              <a:gd name="connsiteY50" fmla="*/ 992587 h 6858000"/>
              <a:gd name="connsiteX51" fmla="*/ 1 w 12192000"/>
              <a:gd name="connsiteY51" fmla="*/ 999692 h 6858000"/>
              <a:gd name="connsiteX52" fmla="*/ 1 w 12192000"/>
              <a:gd name="connsiteY52" fmla="*/ 999792 h 6858000"/>
              <a:gd name="connsiteX53" fmla="*/ 1 w 12192000"/>
              <a:gd name="connsiteY53" fmla="*/ 1017561 h 6858000"/>
              <a:gd name="connsiteX54" fmla="*/ 1 w 12192000"/>
              <a:gd name="connsiteY54" fmla="*/ 1037752 h 6858000"/>
              <a:gd name="connsiteX55" fmla="*/ 1 w 12192000"/>
              <a:gd name="connsiteY55" fmla="*/ 1061294 h 6858000"/>
              <a:gd name="connsiteX56" fmla="*/ 1 w 12192000"/>
              <a:gd name="connsiteY56" fmla="*/ 1081485 h 6858000"/>
              <a:gd name="connsiteX57" fmla="*/ 661991 w 12192000"/>
              <a:gd name="connsiteY57" fmla="*/ 1010042 h 6858000"/>
              <a:gd name="connsiteX58" fmla="*/ 661991 w 12192000"/>
              <a:gd name="connsiteY58" fmla="*/ 999792 h 6858000"/>
              <a:gd name="connsiteX59" fmla="*/ 661991 w 12192000"/>
              <a:gd name="connsiteY59" fmla="*/ 999692 h 6858000"/>
              <a:gd name="connsiteX60" fmla="*/ 661991 w 12192000"/>
              <a:gd name="connsiteY60" fmla="*/ 989851 h 6858000"/>
              <a:gd name="connsiteX61" fmla="*/ 661991 w 12192000"/>
              <a:gd name="connsiteY61" fmla="*/ 976580 h 6858000"/>
              <a:gd name="connsiteX62" fmla="*/ 661991 w 12192000"/>
              <a:gd name="connsiteY62" fmla="*/ 966309 h 6858000"/>
              <a:gd name="connsiteX63" fmla="*/ 661991 w 12192000"/>
              <a:gd name="connsiteY63" fmla="*/ 956059 h 6858000"/>
              <a:gd name="connsiteX64" fmla="*/ 661991 w 12192000"/>
              <a:gd name="connsiteY64" fmla="*/ 955959 h 6858000"/>
              <a:gd name="connsiteX65" fmla="*/ 661991 w 12192000"/>
              <a:gd name="connsiteY65" fmla="*/ 946118 h 6858000"/>
              <a:gd name="connsiteX66" fmla="*/ 661991 w 12192000"/>
              <a:gd name="connsiteY66" fmla="*/ 932847 h 6858000"/>
              <a:gd name="connsiteX67" fmla="*/ 661991 w 12192000"/>
              <a:gd name="connsiteY67" fmla="*/ 921144 h 6858000"/>
              <a:gd name="connsiteX68" fmla="*/ 661991 w 12192000"/>
              <a:gd name="connsiteY68" fmla="*/ 915078 h 6858000"/>
              <a:gd name="connsiteX69" fmla="*/ 661991 w 12192000"/>
              <a:gd name="connsiteY69" fmla="*/ 910893 h 6858000"/>
              <a:gd name="connsiteX70" fmla="*/ 661991 w 12192000"/>
              <a:gd name="connsiteY70" fmla="*/ 910794 h 6858000"/>
              <a:gd name="connsiteX71" fmla="*/ 661991 w 12192000"/>
              <a:gd name="connsiteY71" fmla="*/ 900953 h 6858000"/>
              <a:gd name="connsiteX72" fmla="*/ 661991 w 12192000"/>
              <a:gd name="connsiteY72" fmla="*/ 894886 h 6858000"/>
              <a:gd name="connsiteX73" fmla="*/ 661991 w 12192000"/>
              <a:gd name="connsiteY73" fmla="*/ 887805 h 6858000"/>
              <a:gd name="connsiteX74" fmla="*/ 661991 w 12192000"/>
              <a:gd name="connsiteY74" fmla="*/ 887681 h 6858000"/>
              <a:gd name="connsiteX75" fmla="*/ 661991 w 12192000"/>
              <a:gd name="connsiteY75" fmla="*/ 877554 h 6858000"/>
              <a:gd name="connsiteX76" fmla="*/ 661991 w 12192000"/>
              <a:gd name="connsiteY76" fmla="*/ 877454 h 6858000"/>
              <a:gd name="connsiteX77" fmla="*/ 661991 w 12192000"/>
              <a:gd name="connsiteY77" fmla="*/ 877411 h 6858000"/>
              <a:gd name="connsiteX78" fmla="*/ 661991 w 12192000"/>
              <a:gd name="connsiteY78" fmla="*/ 871345 h 6858000"/>
              <a:gd name="connsiteX79" fmla="*/ 661991 w 12192000"/>
              <a:gd name="connsiteY79" fmla="*/ 867613 h 6858000"/>
              <a:gd name="connsiteX80" fmla="*/ 661991 w 12192000"/>
              <a:gd name="connsiteY80" fmla="*/ 867160 h 6858000"/>
              <a:gd name="connsiteX81" fmla="*/ 661991 w 12192000"/>
              <a:gd name="connsiteY81" fmla="*/ 867061 h 6858000"/>
              <a:gd name="connsiteX82" fmla="*/ 661991 w 12192000"/>
              <a:gd name="connsiteY82" fmla="*/ 857220 h 6858000"/>
              <a:gd name="connsiteX83" fmla="*/ 661991 w 12192000"/>
              <a:gd name="connsiteY83" fmla="*/ 854342 h 6858000"/>
              <a:gd name="connsiteX84" fmla="*/ 661991 w 12192000"/>
              <a:gd name="connsiteY84" fmla="*/ 851153 h 6858000"/>
              <a:gd name="connsiteX85" fmla="*/ 661991 w 12192000"/>
              <a:gd name="connsiteY85" fmla="*/ 844072 h 6858000"/>
              <a:gd name="connsiteX86" fmla="*/ 661991 w 12192000"/>
              <a:gd name="connsiteY86" fmla="*/ 843948 h 6858000"/>
              <a:gd name="connsiteX87" fmla="*/ 661991 w 12192000"/>
              <a:gd name="connsiteY87" fmla="*/ 833821 h 6858000"/>
              <a:gd name="connsiteX88" fmla="*/ 661991 w 12192000"/>
              <a:gd name="connsiteY88" fmla="*/ 833721 h 6858000"/>
              <a:gd name="connsiteX89" fmla="*/ 661991 w 12192000"/>
              <a:gd name="connsiteY89" fmla="*/ 826180 h 6858000"/>
              <a:gd name="connsiteX90" fmla="*/ 661991 w 12192000"/>
              <a:gd name="connsiteY90" fmla="*/ 823880 h 6858000"/>
              <a:gd name="connsiteX91" fmla="*/ 661991 w 12192000"/>
              <a:gd name="connsiteY91" fmla="*/ 810609 h 6858000"/>
              <a:gd name="connsiteX92" fmla="*/ 661991 w 12192000"/>
              <a:gd name="connsiteY92" fmla="*/ 805988 h 6858000"/>
              <a:gd name="connsiteX93" fmla="*/ 661991 w 12192000"/>
              <a:gd name="connsiteY93" fmla="*/ 798906 h 6858000"/>
              <a:gd name="connsiteX94" fmla="*/ 661991 w 12192000"/>
              <a:gd name="connsiteY94" fmla="*/ 792840 h 6858000"/>
              <a:gd name="connsiteX95" fmla="*/ 661991 w 12192000"/>
              <a:gd name="connsiteY95" fmla="*/ 788656 h 6858000"/>
              <a:gd name="connsiteX96" fmla="*/ 661991 w 12192000"/>
              <a:gd name="connsiteY96" fmla="*/ 788556 h 6858000"/>
              <a:gd name="connsiteX97" fmla="*/ 661991 w 12192000"/>
              <a:gd name="connsiteY97" fmla="*/ 782447 h 6858000"/>
              <a:gd name="connsiteX98" fmla="*/ 661991 w 12192000"/>
              <a:gd name="connsiteY98" fmla="*/ 778715 h 6858000"/>
              <a:gd name="connsiteX99" fmla="*/ 661991 w 12192000"/>
              <a:gd name="connsiteY99" fmla="*/ 772649 h 6858000"/>
              <a:gd name="connsiteX100" fmla="*/ 661991 w 12192000"/>
              <a:gd name="connsiteY100" fmla="*/ 765444 h 6858000"/>
              <a:gd name="connsiteX101" fmla="*/ 661991 w 12192000"/>
              <a:gd name="connsiteY101" fmla="*/ 762255 h 6858000"/>
              <a:gd name="connsiteX102" fmla="*/ 661991 w 12192000"/>
              <a:gd name="connsiteY102" fmla="*/ 755173 h 6858000"/>
              <a:gd name="connsiteX103" fmla="*/ 661991 w 12192000"/>
              <a:gd name="connsiteY103" fmla="*/ 749107 h 6858000"/>
              <a:gd name="connsiteX104" fmla="*/ 661991 w 12192000"/>
              <a:gd name="connsiteY104" fmla="*/ 744923 h 6858000"/>
              <a:gd name="connsiteX105" fmla="*/ 661991 w 12192000"/>
              <a:gd name="connsiteY105" fmla="*/ 744823 h 6858000"/>
              <a:gd name="connsiteX106" fmla="*/ 661991 w 12192000"/>
              <a:gd name="connsiteY106" fmla="*/ 734982 h 6858000"/>
              <a:gd name="connsiteX107" fmla="*/ 661991 w 12192000"/>
              <a:gd name="connsiteY107" fmla="*/ 728916 h 6858000"/>
              <a:gd name="connsiteX108" fmla="*/ 661991 w 12192000"/>
              <a:gd name="connsiteY108" fmla="*/ 721711 h 6858000"/>
              <a:gd name="connsiteX109" fmla="*/ 661991 w 12192000"/>
              <a:gd name="connsiteY109" fmla="*/ 703942 h 6858000"/>
              <a:gd name="connsiteX110" fmla="*/ 661991 w 12192000"/>
              <a:gd name="connsiteY110" fmla="*/ 689608 h 6858000"/>
              <a:gd name="connsiteX111" fmla="*/ 661991 w 12192000"/>
              <a:gd name="connsiteY111" fmla="*/ 683750 h 6858000"/>
              <a:gd name="connsiteX112" fmla="*/ 661991 w 12192000"/>
              <a:gd name="connsiteY112" fmla="*/ 681681 h 6858000"/>
              <a:gd name="connsiteX113" fmla="*/ 661991 w 12192000"/>
              <a:gd name="connsiteY113" fmla="*/ 660209 h 6858000"/>
              <a:gd name="connsiteX114" fmla="*/ 661991 w 12192000"/>
              <a:gd name="connsiteY114" fmla="*/ 645875 h 6858000"/>
              <a:gd name="connsiteX115" fmla="*/ 661991 w 12192000"/>
              <a:gd name="connsiteY115" fmla="*/ 640017 h 6858000"/>
              <a:gd name="connsiteX116" fmla="*/ 661991 w 12192000"/>
              <a:gd name="connsiteY116" fmla="*/ 637948 h 6858000"/>
              <a:gd name="connsiteX117" fmla="*/ 661991 w 12192000"/>
              <a:gd name="connsiteY117" fmla="*/ 604895 h 6858000"/>
              <a:gd name="connsiteX118" fmla="*/ 661991 w 12192000"/>
              <a:gd name="connsiteY118" fmla="*/ 600710 h 6858000"/>
              <a:gd name="connsiteX119" fmla="*/ 661991 w 12192000"/>
              <a:gd name="connsiteY119" fmla="*/ 592783 h 6858000"/>
              <a:gd name="connsiteX120" fmla="*/ 661991 w 12192000"/>
              <a:gd name="connsiteY120" fmla="*/ 584703 h 6858000"/>
              <a:gd name="connsiteX121" fmla="*/ 661991 w 12192000"/>
              <a:gd name="connsiteY121" fmla="*/ 567371 h 6858000"/>
              <a:gd name="connsiteX122" fmla="*/ 661991 w 12192000"/>
              <a:gd name="connsiteY122" fmla="*/ 561162 h 6858000"/>
              <a:gd name="connsiteX123" fmla="*/ 661991 w 12192000"/>
              <a:gd name="connsiteY123" fmla="*/ 559443 h 6858000"/>
              <a:gd name="connsiteX124" fmla="*/ 661991 w 12192000"/>
              <a:gd name="connsiteY124" fmla="*/ 556977 h 6858000"/>
              <a:gd name="connsiteX125" fmla="*/ 661991 w 12192000"/>
              <a:gd name="connsiteY125" fmla="*/ 549050 h 6858000"/>
              <a:gd name="connsiteX126" fmla="*/ 661991 w 12192000"/>
              <a:gd name="connsiteY126" fmla="*/ 540970 h 6858000"/>
              <a:gd name="connsiteX127" fmla="*/ 661991 w 12192000"/>
              <a:gd name="connsiteY127" fmla="*/ 523638 h 6858000"/>
              <a:gd name="connsiteX128" fmla="*/ 661991 w 12192000"/>
              <a:gd name="connsiteY128" fmla="*/ 515996 h 6858000"/>
              <a:gd name="connsiteX129" fmla="*/ 661991 w 12192000"/>
              <a:gd name="connsiteY129" fmla="*/ 515710 h 6858000"/>
              <a:gd name="connsiteX130" fmla="*/ 661991 w 12192000"/>
              <a:gd name="connsiteY130" fmla="*/ 495805 h 6858000"/>
              <a:gd name="connsiteX131" fmla="*/ 661991 w 12192000"/>
              <a:gd name="connsiteY131" fmla="*/ 482657 h 6858000"/>
              <a:gd name="connsiteX132" fmla="*/ 661991 w 12192000"/>
              <a:gd name="connsiteY132" fmla="*/ 478472 h 6858000"/>
              <a:gd name="connsiteX133" fmla="*/ 661991 w 12192000"/>
              <a:gd name="connsiteY133" fmla="*/ 472263 h 6858000"/>
              <a:gd name="connsiteX134" fmla="*/ 661991 w 12192000"/>
              <a:gd name="connsiteY134" fmla="*/ 470545 h 6858000"/>
              <a:gd name="connsiteX135" fmla="*/ 661991 w 12192000"/>
              <a:gd name="connsiteY135" fmla="*/ 462465 h 6858000"/>
              <a:gd name="connsiteX136" fmla="*/ 661991 w 12192000"/>
              <a:gd name="connsiteY136" fmla="*/ 452072 h 6858000"/>
              <a:gd name="connsiteX137" fmla="*/ 661991 w 12192000"/>
              <a:gd name="connsiteY137" fmla="*/ 438924 h 6858000"/>
              <a:gd name="connsiteX138" fmla="*/ 661991 w 12192000"/>
              <a:gd name="connsiteY138" fmla="*/ 434739 h 6858000"/>
              <a:gd name="connsiteX139" fmla="*/ 661991 w 12192000"/>
              <a:gd name="connsiteY139" fmla="*/ 426812 h 6858000"/>
              <a:gd name="connsiteX140" fmla="*/ 661991 w 12192000"/>
              <a:gd name="connsiteY140" fmla="*/ 418732 h 6858000"/>
              <a:gd name="connsiteX141" fmla="*/ 661991 w 12192000"/>
              <a:gd name="connsiteY141" fmla="*/ 393759 h 6858000"/>
              <a:gd name="connsiteX142" fmla="*/ 661991 w 12192000"/>
              <a:gd name="connsiteY142" fmla="*/ 373567 h 6858000"/>
              <a:gd name="connsiteX143" fmla="*/ 661991 w 12192000"/>
              <a:gd name="connsiteY143" fmla="*/ 350026 h 6858000"/>
              <a:gd name="connsiteX144" fmla="*/ 0 w 12192000"/>
              <a:gd name="connsiteY144" fmla="*/ 0 h 6858000"/>
              <a:gd name="connsiteX145" fmla="*/ 12192000 w 12192000"/>
              <a:gd name="connsiteY145" fmla="*/ 0 h 6858000"/>
              <a:gd name="connsiteX146" fmla="*/ 12192000 w 12192000"/>
              <a:gd name="connsiteY146" fmla="*/ 6858000 h 6858000"/>
              <a:gd name="connsiteX147" fmla="*/ 0 w 12192000"/>
              <a:gd name="connsiteY14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12192000" h="6858000">
                <a:moveTo>
                  <a:pt x="661991" y="339114"/>
                </a:moveTo>
                <a:lnTo>
                  <a:pt x="1" y="410557"/>
                </a:lnTo>
                <a:lnTo>
                  <a:pt x="1" y="421468"/>
                </a:lnTo>
                <a:lnTo>
                  <a:pt x="1" y="426812"/>
                </a:lnTo>
                <a:lnTo>
                  <a:pt x="1" y="445011"/>
                </a:lnTo>
                <a:lnTo>
                  <a:pt x="1" y="465201"/>
                </a:lnTo>
                <a:lnTo>
                  <a:pt x="1" y="470545"/>
                </a:lnTo>
                <a:lnTo>
                  <a:pt x="1" y="490176"/>
                </a:lnTo>
                <a:lnTo>
                  <a:pt x="1" y="510367"/>
                </a:lnTo>
                <a:lnTo>
                  <a:pt x="1" y="515710"/>
                </a:lnTo>
                <a:lnTo>
                  <a:pt x="1" y="523515"/>
                </a:lnTo>
                <a:lnTo>
                  <a:pt x="1" y="533909"/>
                </a:lnTo>
                <a:lnTo>
                  <a:pt x="1" y="543706"/>
                </a:lnTo>
                <a:lnTo>
                  <a:pt x="1" y="549050"/>
                </a:lnTo>
                <a:lnTo>
                  <a:pt x="1" y="554100"/>
                </a:lnTo>
                <a:lnTo>
                  <a:pt x="1" y="559443"/>
                </a:lnTo>
                <a:lnTo>
                  <a:pt x="1" y="567248"/>
                </a:lnTo>
                <a:lnTo>
                  <a:pt x="1" y="587439"/>
                </a:lnTo>
                <a:lnTo>
                  <a:pt x="1" y="592783"/>
                </a:lnTo>
                <a:lnTo>
                  <a:pt x="1" y="612414"/>
                </a:lnTo>
                <a:lnTo>
                  <a:pt x="1" y="632604"/>
                </a:lnTo>
                <a:lnTo>
                  <a:pt x="1" y="637948"/>
                </a:lnTo>
                <a:lnTo>
                  <a:pt x="1" y="656147"/>
                </a:lnTo>
                <a:lnTo>
                  <a:pt x="1" y="676337"/>
                </a:lnTo>
                <a:lnTo>
                  <a:pt x="1" y="681681"/>
                </a:lnTo>
                <a:lnTo>
                  <a:pt x="1" y="744823"/>
                </a:lnTo>
                <a:lnTo>
                  <a:pt x="1" y="744923"/>
                </a:lnTo>
                <a:lnTo>
                  <a:pt x="1" y="788556"/>
                </a:lnTo>
                <a:lnTo>
                  <a:pt x="1" y="788656"/>
                </a:lnTo>
                <a:lnTo>
                  <a:pt x="1" y="806425"/>
                </a:lnTo>
                <a:lnTo>
                  <a:pt x="1" y="826616"/>
                </a:lnTo>
                <a:lnTo>
                  <a:pt x="1" y="833721"/>
                </a:lnTo>
                <a:lnTo>
                  <a:pt x="1" y="833821"/>
                </a:lnTo>
                <a:lnTo>
                  <a:pt x="1" y="850158"/>
                </a:lnTo>
                <a:lnTo>
                  <a:pt x="1" y="867061"/>
                </a:lnTo>
                <a:lnTo>
                  <a:pt x="1" y="867160"/>
                </a:lnTo>
                <a:lnTo>
                  <a:pt x="1" y="870349"/>
                </a:lnTo>
                <a:lnTo>
                  <a:pt x="1" y="877454"/>
                </a:lnTo>
                <a:lnTo>
                  <a:pt x="1" y="877554"/>
                </a:lnTo>
                <a:lnTo>
                  <a:pt x="1" y="895324"/>
                </a:lnTo>
                <a:lnTo>
                  <a:pt x="1" y="910794"/>
                </a:lnTo>
                <a:lnTo>
                  <a:pt x="1" y="910893"/>
                </a:lnTo>
                <a:lnTo>
                  <a:pt x="1" y="915514"/>
                </a:lnTo>
                <a:lnTo>
                  <a:pt x="1" y="928663"/>
                </a:lnTo>
                <a:lnTo>
                  <a:pt x="1" y="939057"/>
                </a:lnTo>
                <a:lnTo>
                  <a:pt x="1" y="948854"/>
                </a:lnTo>
                <a:lnTo>
                  <a:pt x="1" y="955959"/>
                </a:lnTo>
                <a:lnTo>
                  <a:pt x="1" y="956059"/>
                </a:lnTo>
                <a:lnTo>
                  <a:pt x="1" y="959247"/>
                </a:lnTo>
                <a:lnTo>
                  <a:pt x="1" y="972396"/>
                </a:lnTo>
                <a:lnTo>
                  <a:pt x="1" y="992587"/>
                </a:lnTo>
                <a:lnTo>
                  <a:pt x="1" y="999692"/>
                </a:lnTo>
                <a:lnTo>
                  <a:pt x="1" y="999792"/>
                </a:lnTo>
                <a:lnTo>
                  <a:pt x="1" y="1017561"/>
                </a:lnTo>
                <a:lnTo>
                  <a:pt x="1" y="1037752"/>
                </a:lnTo>
                <a:lnTo>
                  <a:pt x="1" y="1061294"/>
                </a:lnTo>
                <a:lnTo>
                  <a:pt x="1" y="1081485"/>
                </a:lnTo>
                <a:lnTo>
                  <a:pt x="661991" y="1010042"/>
                </a:lnTo>
                <a:lnTo>
                  <a:pt x="661991" y="999792"/>
                </a:lnTo>
                <a:lnTo>
                  <a:pt x="661991" y="999692"/>
                </a:lnTo>
                <a:lnTo>
                  <a:pt x="661991" y="989851"/>
                </a:lnTo>
                <a:lnTo>
                  <a:pt x="661991" y="976580"/>
                </a:lnTo>
                <a:lnTo>
                  <a:pt x="661991" y="966309"/>
                </a:lnTo>
                <a:lnTo>
                  <a:pt x="661991" y="956059"/>
                </a:lnTo>
                <a:lnTo>
                  <a:pt x="661991" y="955959"/>
                </a:lnTo>
                <a:lnTo>
                  <a:pt x="661991" y="946118"/>
                </a:lnTo>
                <a:lnTo>
                  <a:pt x="661991" y="932847"/>
                </a:lnTo>
                <a:lnTo>
                  <a:pt x="661991" y="921144"/>
                </a:lnTo>
                <a:lnTo>
                  <a:pt x="661991" y="915078"/>
                </a:lnTo>
                <a:lnTo>
                  <a:pt x="661991" y="910893"/>
                </a:lnTo>
                <a:lnTo>
                  <a:pt x="661991" y="910794"/>
                </a:lnTo>
                <a:lnTo>
                  <a:pt x="661991" y="900953"/>
                </a:lnTo>
                <a:lnTo>
                  <a:pt x="661991" y="894886"/>
                </a:lnTo>
                <a:lnTo>
                  <a:pt x="661991" y="887805"/>
                </a:lnTo>
                <a:lnTo>
                  <a:pt x="661991" y="887681"/>
                </a:lnTo>
                <a:lnTo>
                  <a:pt x="661991" y="877554"/>
                </a:lnTo>
                <a:lnTo>
                  <a:pt x="661991" y="877454"/>
                </a:lnTo>
                <a:lnTo>
                  <a:pt x="661991" y="877411"/>
                </a:lnTo>
                <a:lnTo>
                  <a:pt x="661991" y="871345"/>
                </a:lnTo>
                <a:lnTo>
                  <a:pt x="661991" y="867613"/>
                </a:lnTo>
                <a:lnTo>
                  <a:pt x="661991" y="867160"/>
                </a:lnTo>
                <a:lnTo>
                  <a:pt x="661991" y="867061"/>
                </a:lnTo>
                <a:lnTo>
                  <a:pt x="661991" y="857220"/>
                </a:lnTo>
                <a:lnTo>
                  <a:pt x="661991" y="854342"/>
                </a:lnTo>
                <a:lnTo>
                  <a:pt x="661991" y="851153"/>
                </a:lnTo>
                <a:lnTo>
                  <a:pt x="661991" y="844072"/>
                </a:lnTo>
                <a:lnTo>
                  <a:pt x="661991" y="843948"/>
                </a:lnTo>
                <a:lnTo>
                  <a:pt x="661991" y="833821"/>
                </a:lnTo>
                <a:lnTo>
                  <a:pt x="661991" y="833721"/>
                </a:lnTo>
                <a:lnTo>
                  <a:pt x="661991" y="826180"/>
                </a:lnTo>
                <a:lnTo>
                  <a:pt x="661991" y="823880"/>
                </a:lnTo>
                <a:lnTo>
                  <a:pt x="661991" y="810609"/>
                </a:lnTo>
                <a:lnTo>
                  <a:pt x="661991" y="805988"/>
                </a:lnTo>
                <a:lnTo>
                  <a:pt x="661991" y="798906"/>
                </a:lnTo>
                <a:lnTo>
                  <a:pt x="661991" y="792840"/>
                </a:lnTo>
                <a:lnTo>
                  <a:pt x="661991" y="788656"/>
                </a:lnTo>
                <a:lnTo>
                  <a:pt x="661991" y="788556"/>
                </a:lnTo>
                <a:lnTo>
                  <a:pt x="661991" y="782447"/>
                </a:lnTo>
                <a:lnTo>
                  <a:pt x="661991" y="778715"/>
                </a:lnTo>
                <a:lnTo>
                  <a:pt x="661991" y="772649"/>
                </a:lnTo>
                <a:lnTo>
                  <a:pt x="661991" y="765444"/>
                </a:lnTo>
                <a:lnTo>
                  <a:pt x="661991" y="762255"/>
                </a:lnTo>
                <a:lnTo>
                  <a:pt x="661991" y="755173"/>
                </a:lnTo>
                <a:lnTo>
                  <a:pt x="661991" y="749107"/>
                </a:lnTo>
                <a:lnTo>
                  <a:pt x="661991" y="744923"/>
                </a:lnTo>
                <a:lnTo>
                  <a:pt x="661991" y="744823"/>
                </a:lnTo>
                <a:lnTo>
                  <a:pt x="661991" y="734982"/>
                </a:lnTo>
                <a:lnTo>
                  <a:pt x="661991" y="728916"/>
                </a:lnTo>
                <a:lnTo>
                  <a:pt x="661991" y="721711"/>
                </a:lnTo>
                <a:lnTo>
                  <a:pt x="661991" y="703942"/>
                </a:lnTo>
                <a:lnTo>
                  <a:pt x="661991" y="689608"/>
                </a:lnTo>
                <a:lnTo>
                  <a:pt x="661991" y="683750"/>
                </a:lnTo>
                <a:lnTo>
                  <a:pt x="661991" y="681681"/>
                </a:lnTo>
                <a:lnTo>
                  <a:pt x="661991" y="660209"/>
                </a:lnTo>
                <a:lnTo>
                  <a:pt x="661991" y="645875"/>
                </a:lnTo>
                <a:lnTo>
                  <a:pt x="661991" y="640017"/>
                </a:lnTo>
                <a:lnTo>
                  <a:pt x="661991" y="637948"/>
                </a:lnTo>
                <a:lnTo>
                  <a:pt x="661991" y="604895"/>
                </a:lnTo>
                <a:lnTo>
                  <a:pt x="661991" y="600710"/>
                </a:lnTo>
                <a:lnTo>
                  <a:pt x="661991" y="592783"/>
                </a:lnTo>
                <a:lnTo>
                  <a:pt x="661991" y="584703"/>
                </a:lnTo>
                <a:lnTo>
                  <a:pt x="661991" y="567371"/>
                </a:lnTo>
                <a:lnTo>
                  <a:pt x="661991" y="561162"/>
                </a:lnTo>
                <a:lnTo>
                  <a:pt x="661991" y="559443"/>
                </a:lnTo>
                <a:lnTo>
                  <a:pt x="661991" y="556977"/>
                </a:lnTo>
                <a:lnTo>
                  <a:pt x="661991" y="549050"/>
                </a:lnTo>
                <a:lnTo>
                  <a:pt x="661991" y="540970"/>
                </a:lnTo>
                <a:lnTo>
                  <a:pt x="661991" y="523638"/>
                </a:lnTo>
                <a:lnTo>
                  <a:pt x="661991" y="515996"/>
                </a:lnTo>
                <a:lnTo>
                  <a:pt x="661991" y="515710"/>
                </a:lnTo>
                <a:lnTo>
                  <a:pt x="661991" y="495805"/>
                </a:lnTo>
                <a:lnTo>
                  <a:pt x="661991" y="482657"/>
                </a:lnTo>
                <a:lnTo>
                  <a:pt x="661991" y="478472"/>
                </a:lnTo>
                <a:lnTo>
                  <a:pt x="661991" y="472263"/>
                </a:lnTo>
                <a:lnTo>
                  <a:pt x="661991" y="470545"/>
                </a:lnTo>
                <a:lnTo>
                  <a:pt x="661991" y="462465"/>
                </a:lnTo>
                <a:lnTo>
                  <a:pt x="661991" y="452072"/>
                </a:lnTo>
                <a:lnTo>
                  <a:pt x="661991" y="438924"/>
                </a:lnTo>
                <a:lnTo>
                  <a:pt x="661991" y="434739"/>
                </a:lnTo>
                <a:lnTo>
                  <a:pt x="661991" y="426812"/>
                </a:lnTo>
                <a:lnTo>
                  <a:pt x="661991" y="418732"/>
                </a:lnTo>
                <a:lnTo>
                  <a:pt x="661991" y="393759"/>
                </a:lnTo>
                <a:lnTo>
                  <a:pt x="661991" y="373567"/>
                </a:lnTo>
                <a:lnTo>
                  <a:pt x="661991" y="35002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 bIns="1584000" anchor="b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E9CC2C3-73C3-41F8-A9F3-4DFF1E4B52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4061" y="3092783"/>
            <a:ext cx="9743879" cy="677108"/>
          </a:xfrm>
        </p:spPr>
        <p:txBody>
          <a:bodyPr anchor="ctr">
            <a:spAutoFit/>
          </a:bodyPr>
          <a:lstStyle>
            <a:lvl1pPr marL="0" indent="0" algn="ctr">
              <a:spcAft>
                <a:spcPts val="0"/>
              </a:spcAft>
              <a:buNone/>
              <a:defRPr sz="4400" b="1" kern="600" spc="40" baseline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FD461ADA-45A7-4378-B5B9-54CE9BF89A9C}"/>
              </a:ext>
            </a:extLst>
          </p:cNvPr>
          <p:cNvGrpSpPr/>
          <p:nvPr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6" name="Freeform 40">
              <a:extLst>
                <a:ext uri="{FF2B5EF4-FFF2-40B4-BE49-F238E27FC236}">
                  <a16:creationId xmlns:a16="http://schemas.microsoft.com/office/drawing/2014/main" id="{1AA0CEEF-19FF-43A0-8966-6DB91FA5A5B2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Freeform 41">
              <a:extLst>
                <a:ext uri="{FF2B5EF4-FFF2-40B4-BE49-F238E27FC236}">
                  <a16:creationId xmlns:a16="http://schemas.microsoft.com/office/drawing/2014/main" id="{2D34465F-A7E6-49C4-A2DD-CFD03E807F00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8" name="Object 9" hidden="1">
            <a:extLst>
              <a:ext uri="{FF2B5EF4-FFF2-40B4-BE49-F238E27FC236}">
                <a16:creationId xmlns:a16="http://schemas.microsoft.com/office/drawing/2014/main" id="{1662DB07-81B8-4BDA-8345-7D0D9D3C5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9011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662DB07-81B8-4BDA-8345-7D0D9D3C5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13">
            <a:extLst>
              <a:ext uri="{FF2B5EF4-FFF2-40B4-BE49-F238E27FC236}">
                <a16:creationId xmlns:a16="http://schemas.microsoft.com/office/drawing/2014/main" id="{FD461ADA-45A7-4378-B5B9-54CE9BF89A9C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2" name="Freeform 40">
              <a:extLst>
                <a:ext uri="{FF2B5EF4-FFF2-40B4-BE49-F238E27FC236}">
                  <a16:creationId xmlns:a16="http://schemas.microsoft.com/office/drawing/2014/main" id="{1AA0CEEF-19FF-43A0-8966-6DB91FA5A5B2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41">
              <a:extLst>
                <a:ext uri="{FF2B5EF4-FFF2-40B4-BE49-F238E27FC236}">
                  <a16:creationId xmlns:a16="http://schemas.microsoft.com/office/drawing/2014/main" id="{2D34465F-A7E6-49C4-A2DD-CFD03E807F00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66659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folie // Bilplatzhalter mit Text (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662DB07-81B8-4BDA-8345-7D0D9D3C5C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8361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662DB07-81B8-4BDA-8345-7D0D9D3C5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E2CD7A7C-6BED-4042-88C8-8ACEEFC464C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742301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223370 h 6858000"/>
              <a:gd name="connsiteX3" fmla="*/ 5621103 w 12192000"/>
              <a:gd name="connsiteY3" fmla="*/ 6858000 h 6858000"/>
              <a:gd name="connsiteX4" fmla="*/ 0 w 12192000"/>
              <a:gd name="connsiteY4" fmla="*/ 6858000 h 6858000"/>
              <a:gd name="connsiteX5" fmla="*/ 0 w 12192000"/>
              <a:gd name="connsiteY5" fmla="*/ 1081483 h 6858000"/>
              <a:gd name="connsiteX6" fmla="*/ 1 w 12192000"/>
              <a:gd name="connsiteY6" fmla="*/ 1081483 h 6858000"/>
              <a:gd name="connsiteX7" fmla="*/ 1 w 12192000"/>
              <a:gd name="connsiteY7" fmla="*/ 1081485 h 6858000"/>
              <a:gd name="connsiteX8" fmla="*/ 354 w 12192000"/>
              <a:gd name="connsiteY8" fmla="*/ 108144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10742301" y="0"/>
                </a:moveTo>
                <a:lnTo>
                  <a:pt x="12192000" y="0"/>
                </a:lnTo>
                <a:lnTo>
                  <a:pt x="12192000" y="6223370"/>
                </a:lnTo>
                <a:lnTo>
                  <a:pt x="5621103" y="6858000"/>
                </a:lnTo>
                <a:lnTo>
                  <a:pt x="0" y="6858000"/>
                </a:lnTo>
                <a:lnTo>
                  <a:pt x="0" y="1081483"/>
                </a:lnTo>
                <a:lnTo>
                  <a:pt x="1" y="1081483"/>
                </a:lnTo>
                <a:lnTo>
                  <a:pt x="1" y="1081485"/>
                </a:lnTo>
                <a:lnTo>
                  <a:pt x="354" y="1081447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 bIns="1584000" anchor="b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E9CC2C3-73C3-41F8-A9F3-4DFF1E4B52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4061" y="3092783"/>
            <a:ext cx="9743879" cy="677108"/>
          </a:xfrm>
        </p:spPr>
        <p:txBody>
          <a:bodyPr anchor="ctr">
            <a:spAutoFit/>
          </a:bodyPr>
          <a:lstStyle>
            <a:lvl1pPr marL="0" indent="0" algn="ctr">
              <a:spcAft>
                <a:spcPts val="0"/>
              </a:spcAft>
              <a:buNone/>
              <a:defRPr sz="4400" b="1" kern="600" spc="40" baseline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5" name="Freihandform: Form 27">
            <a:extLst>
              <a:ext uri="{FF2B5EF4-FFF2-40B4-BE49-F238E27FC236}">
                <a16:creationId xmlns:a16="http://schemas.microsoft.com/office/drawing/2014/main" id="{0C357E27-A970-4422-8105-7EAD4D7908AF}"/>
              </a:ext>
            </a:extLst>
          </p:cNvPr>
          <p:cNvSpPr/>
          <p:nvPr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6" name="Freihandform: Form 7">
            <a:extLst>
              <a:ext uri="{FF2B5EF4-FFF2-40B4-BE49-F238E27FC236}">
                <a16:creationId xmlns:a16="http://schemas.microsoft.com/office/drawing/2014/main" id="{7957DB2B-F4FD-4807-890C-1D5FB9FEA0BE}"/>
              </a:ext>
            </a:extLst>
          </p:cNvPr>
          <p:cNvSpPr/>
          <p:nvPr/>
        </p:nvSpPr>
        <p:spPr>
          <a:xfrm>
            <a:off x="5621103" y="6223370"/>
            <a:ext cx="6570897" cy="634630"/>
          </a:xfrm>
          <a:custGeom>
            <a:avLst/>
            <a:gdLst>
              <a:gd name="connsiteX0" fmla="*/ 6570897 w 6570897"/>
              <a:gd name="connsiteY0" fmla="*/ 0 h 634630"/>
              <a:gd name="connsiteX1" fmla="*/ 6570897 w 6570897"/>
              <a:gd name="connsiteY1" fmla="*/ 634630 h 634630"/>
              <a:gd name="connsiteX2" fmla="*/ 0 w 6570897"/>
              <a:gd name="connsiteY2" fmla="*/ 634630 h 634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70897" h="634630">
                <a:moveTo>
                  <a:pt x="6570897" y="0"/>
                </a:moveTo>
                <a:lnTo>
                  <a:pt x="6570897" y="634630"/>
                </a:lnTo>
                <a:lnTo>
                  <a:pt x="0" y="634630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 algn="l">
              <a:spcAft>
                <a:spcPts val="1200"/>
              </a:spcAft>
            </a:pPr>
            <a:endParaRPr lang="de-DE" sz="1400" kern="600" spc="0" baseline="0" dirty="0"/>
          </a:p>
        </p:txBody>
      </p:sp>
      <p:grpSp>
        <p:nvGrpSpPr>
          <p:cNvPr id="7" name="Group 13">
            <a:extLst>
              <a:ext uri="{FF2B5EF4-FFF2-40B4-BE49-F238E27FC236}">
                <a16:creationId xmlns:a16="http://schemas.microsoft.com/office/drawing/2014/main" id="{15861EDB-1869-475F-836A-15C14DA44195}"/>
              </a:ext>
            </a:extLst>
          </p:cNvPr>
          <p:cNvGrpSpPr/>
          <p:nvPr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8" name="Freeform 40">
              <a:extLst>
                <a:ext uri="{FF2B5EF4-FFF2-40B4-BE49-F238E27FC236}">
                  <a16:creationId xmlns:a16="http://schemas.microsoft.com/office/drawing/2014/main" id="{A0E011BF-9B88-49E3-8AA6-B972D7E9F06B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Freeform 41">
              <a:extLst>
                <a:ext uri="{FF2B5EF4-FFF2-40B4-BE49-F238E27FC236}">
                  <a16:creationId xmlns:a16="http://schemas.microsoft.com/office/drawing/2014/main" id="{C6C2628F-067A-4F9F-AB6D-583DE89C8BE1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11" name="Object 9" hidden="1">
            <a:extLst>
              <a:ext uri="{FF2B5EF4-FFF2-40B4-BE49-F238E27FC236}">
                <a16:creationId xmlns:a16="http://schemas.microsoft.com/office/drawing/2014/main" id="{1662DB07-81B8-4BDA-8345-7D0D9D3C5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4098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662DB07-81B8-4BDA-8345-7D0D9D3C5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27">
            <a:extLst>
              <a:ext uri="{FF2B5EF4-FFF2-40B4-BE49-F238E27FC236}">
                <a16:creationId xmlns:a16="http://schemas.microsoft.com/office/drawing/2014/main" id="{0C357E27-A970-4422-8105-7EAD4D7908AF}"/>
              </a:ext>
            </a:extLst>
          </p:cNvPr>
          <p:cNvSpPr/>
          <p:nvPr userDrawn="1"/>
        </p:nvSpPr>
        <p:spPr>
          <a:xfrm rot="10800000">
            <a:off x="-5" y="-2"/>
            <a:ext cx="12192004" cy="1870365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4" name="Freihandform: Form 7">
            <a:extLst>
              <a:ext uri="{FF2B5EF4-FFF2-40B4-BE49-F238E27FC236}">
                <a16:creationId xmlns:a16="http://schemas.microsoft.com/office/drawing/2014/main" id="{7957DB2B-F4FD-4807-890C-1D5FB9FEA0BE}"/>
              </a:ext>
            </a:extLst>
          </p:cNvPr>
          <p:cNvSpPr/>
          <p:nvPr userDrawn="1"/>
        </p:nvSpPr>
        <p:spPr>
          <a:xfrm>
            <a:off x="5621103" y="6223370"/>
            <a:ext cx="6570897" cy="634630"/>
          </a:xfrm>
          <a:custGeom>
            <a:avLst/>
            <a:gdLst>
              <a:gd name="connsiteX0" fmla="*/ 6570897 w 6570897"/>
              <a:gd name="connsiteY0" fmla="*/ 0 h 634630"/>
              <a:gd name="connsiteX1" fmla="*/ 6570897 w 6570897"/>
              <a:gd name="connsiteY1" fmla="*/ 634630 h 634630"/>
              <a:gd name="connsiteX2" fmla="*/ 0 w 6570897"/>
              <a:gd name="connsiteY2" fmla="*/ 634630 h 634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70897" h="634630">
                <a:moveTo>
                  <a:pt x="6570897" y="0"/>
                </a:moveTo>
                <a:lnTo>
                  <a:pt x="6570897" y="634630"/>
                </a:lnTo>
                <a:lnTo>
                  <a:pt x="0" y="634630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 algn="l">
              <a:spcAft>
                <a:spcPts val="1200"/>
              </a:spcAft>
            </a:pPr>
            <a:endParaRPr lang="de-DE" sz="1400" kern="600" spc="0" baseline="0" dirty="0"/>
          </a:p>
        </p:txBody>
      </p:sp>
      <p:grpSp>
        <p:nvGrpSpPr>
          <p:cNvPr id="15" name="Group 13">
            <a:extLst>
              <a:ext uri="{FF2B5EF4-FFF2-40B4-BE49-F238E27FC236}">
                <a16:creationId xmlns:a16="http://schemas.microsoft.com/office/drawing/2014/main" id="{15861EDB-1869-475F-836A-15C14DA44195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6" name="Freeform 40">
              <a:extLst>
                <a:ext uri="{FF2B5EF4-FFF2-40B4-BE49-F238E27FC236}">
                  <a16:creationId xmlns:a16="http://schemas.microsoft.com/office/drawing/2014/main" id="{A0E011BF-9B88-49E3-8AA6-B972D7E9F06B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41">
              <a:extLst>
                <a:ext uri="{FF2B5EF4-FFF2-40B4-BE49-F238E27FC236}">
                  <a16:creationId xmlns:a16="http://schemas.microsoft.com/office/drawing/2014/main" id="{C6C2628F-067A-4F9F-AB6D-583DE89C8BE1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D2DD70F5-D2EB-5D04-FF4E-86B8A309B4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234947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U // Nur TItel 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3446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8B7D36-4FC7-458A-91CB-590EC0375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9" name="Freeform 18">
            <a:extLst>
              <a:ext uri="{FF2B5EF4-FFF2-40B4-BE49-F238E27FC236}">
                <a16:creationId xmlns:a16="http://schemas.microsoft.com/office/drawing/2014/main" id="{F9BEDD05-536F-F74A-9F35-0ED4CCA99545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graphicFrame>
        <p:nvGraphicFramePr>
          <p:cNvPr id="10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69092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 dirty="0"/>
          </a:p>
        </p:txBody>
      </p:sp>
      <p:sp>
        <p:nvSpPr>
          <p:cNvPr id="17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Freeform 18">
            <a:extLst>
              <a:ext uri="{FF2B5EF4-FFF2-40B4-BE49-F238E27FC236}">
                <a16:creationId xmlns:a16="http://schemas.microsoft.com/office/drawing/2014/main" id="{F9BEDD05-536F-F74A-9F35-0ED4CCA9954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17284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// Bild fi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4FB6EE2C-707F-C44D-8AA5-9E2D85214630}"/>
              </a:ext>
            </a:extLst>
          </p:cNvPr>
          <p:cNvSpPr/>
          <p:nvPr userDrawn="1"/>
        </p:nvSpPr>
        <p:spPr>
          <a:xfrm>
            <a:off x="-2" y="0"/>
            <a:ext cx="12192001" cy="6193111"/>
          </a:xfrm>
          <a:prstGeom prst="rect">
            <a:avLst/>
          </a:prstGeom>
          <a:solidFill>
            <a:srgbClr val="00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7D80E89-247E-A848-AC8E-FD04136F57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99308" y="0"/>
            <a:ext cx="7531100" cy="5400942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FD36E87A-29D3-BC47-8370-3C6F038F86FB}"/>
              </a:ext>
            </a:extLst>
          </p:cNvPr>
          <p:cNvGrpSpPr/>
          <p:nvPr userDrawn="1"/>
        </p:nvGrpSpPr>
        <p:grpSpPr>
          <a:xfrm>
            <a:off x="1" y="4109111"/>
            <a:ext cx="12192000" cy="2584735"/>
            <a:chOff x="1" y="4109111"/>
            <a:chExt cx="12192000" cy="2584735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A4D2EE94-2913-F74B-BF74-14EEECDA3E6A}"/>
                </a:ext>
              </a:extLst>
            </p:cNvPr>
            <p:cNvGrpSpPr/>
            <p:nvPr userDrawn="1"/>
          </p:nvGrpSpPr>
          <p:grpSpPr>
            <a:xfrm>
              <a:off x="1" y="4109111"/>
              <a:ext cx="12192000" cy="2156110"/>
              <a:chOff x="-14320" y="4701890"/>
              <a:chExt cx="12206319" cy="2156110"/>
            </a:xfrm>
            <a:solidFill>
              <a:schemeClr val="tx2"/>
            </a:solidFill>
          </p:grpSpPr>
          <p:sp>
            <p:nvSpPr>
              <p:cNvPr id="27" name="Freihandform: Form 36">
                <a:extLst>
                  <a:ext uri="{FF2B5EF4-FFF2-40B4-BE49-F238E27FC236}">
                    <a16:creationId xmlns:a16="http://schemas.microsoft.com/office/drawing/2014/main" id="{77B660CE-0A34-A240-B62F-43519ED186EF}"/>
                  </a:ext>
                </a:extLst>
              </p:cNvPr>
              <p:cNvSpPr/>
              <p:nvPr/>
            </p:nvSpPr>
            <p:spPr>
              <a:xfrm>
                <a:off x="-14320" y="4701890"/>
                <a:ext cx="12206319" cy="1177527"/>
              </a:xfrm>
              <a:custGeom>
                <a:avLst/>
                <a:gdLst>
                  <a:gd name="connsiteX0" fmla="*/ 6984082 w 6984082"/>
                  <a:gd name="connsiteY0" fmla="*/ 0 h 1087864"/>
                  <a:gd name="connsiteX1" fmla="*/ 6984082 w 6984082"/>
                  <a:gd name="connsiteY1" fmla="*/ 537210 h 1087864"/>
                  <a:gd name="connsiteX2" fmla="*/ 6984082 w 6984082"/>
                  <a:gd name="connsiteY2" fmla="*/ 1087864 h 1087864"/>
                  <a:gd name="connsiteX3" fmla="*/ 0 w 6984082"/>
                  <a:gd name="connsiteY3" fmla="*/ 1087864 h 1087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84082" h="1087864">
                    <a:moveTo>
                      <a:pt x="6984082" y="0"/>
                    </a:moveTo>
                    <a:lnTo>
                      <a:pt x="6984082" y="537210"/>
                    </a:lnTo>
                    <a:lnTo>
                      <a:pt x="6984082" y="1087864"/>
                    </a:lnTo>
                    <a:lnTo>
                      <a:pt x="0" y="1087864"/>
                    </a:lnTo>
                    <a:close/>
                  </a:path>
                </a:pathLst>
              </a:cu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Freihandform: Form 36">
                <a:extLst>
                  <a:ext uri="{FF2B5EF4-FFF2-40B4-BE49-F238E27FC236}">
                    <a16:creationId xmlns:a16="http://schemas.microsoft.com/office/drawing/2014/main" id="{A4B9466F-338C-094F-940A-E4F8C0FB212E}"/>
                  </a:ext>
                </a:extLst>
              </p:cNvPr>
              <p:cNvSpPr/>
              <p:nvPr/>
            </p:nvSpPr>
            <p:spPr>
              <a:xfrm>
                <a:off x="-14320" y="5950857"/>
                <a:ext cx="12206319" cy="907143"/>
              </a:xfrm>
              <a:prstGeom prst="rect">
                <a:avLst/>
              </a:pr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6E1FC518-7A43-5B4E-ACD6-904D7BF83146}"/>
                </a:ext>
              </a:extLst>
            </p:cNvPr>
            <p:cNvGrpSpPr/>
            <p:nvPr userDrawn="1"/>
          </p:nvGrpSpPr>
          <p:grpSpPr>
            <a:xfrm>
              <a:off x="1" y="5286638"/>
              <a:ext cx="12192000" cy="1407208"/>
              <a:chOff x="-14320" y="4701890"/>
              <a:chExt cx="12206319" cy="2156110"/>
            </a:xfrm>
            <a:solidFill>
              <a:schemeClr val="tx2"/>
            </a:solidFill>
          </p:grpSpPr>
          <p:sp>
            <p:nvSpPr>
              <p:cNvPr id="25" name="Freihandform: Form 36">
                <a:extLst>
                  <a:ext uri="{FF2B5EF4-FFF2-40B4-BE49-F238E27FC236}">
                    <a16:creationId xmlns:a16="http://schemas.microsoft.com/office/drawing/2014/main" id="{E8B85861-FFF2-9044-AB3C-0431F4DAD23B}"/>
                  </a:ext>
                </a:extLst>
              </p:cNvPr>
              <p:cNvSpPr/>
              <p:nvPr/>
            </p:nvSpPr>
            <p:spPr>
              <a:xfrm>
                <a:off x="-14320" y="4701890"/>
                <a:ext cx="12206319" cy="1177527"/>
              </a:xfrm>
              <a:prstGeom prst="rect">
                <a:avLst/>
              </a:pr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Freihandform: Form 36">
                <a:extLst>
                  <a:ext uri="{FF2B5EF4-FFF2-40B4-BE49-F238E27FC236}">
                    <a16:creationId xmlns:a16="http://schemas.microsoft.com/office/drawing/2014/main" id="{39254663-6158-6A45-AE29-7268EB9EC89A}"/>
                  </a:ext>
                </a:extLst>
              </p:cNvPr>
              <p:cNvSpPr/>
              <p:nvPr/>
            </p:nvSpPr>
            <p:spPr>
              <a:xfrm>
                <a:off x="-14320" y="5950857"/>
                <a:ext cx="12206319" cy="907143"/>
              </a:xfrm>
              <a:prstGeom prst="rect">
                <a:avLst/>
              </a:pr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A0779EA-D713-DD4F-80D4-8D599941F06A}"/>
              </a:ext>
            </a:extLst>
          </p:cNvPr>
          <p:cNvGrpSpPr/>
          <p:nvPr userDrawn="1"/>
        </p:nvGrpSpPr>
        <p:grpSpPr>
          <a:xfrm>
            <a:off x="1" y="4180551"/>
            <a:ext cx="12192000" cy="2084670"/>
            <a:chOff x="-14320" y="4773330"/>
            <a:chExt cx="12206319" cy="2084670"/>
          </a:xfrm>
          <a:solidFill>
            <a:schemeClr val="tx2"/>
          </a:solidFill>
        </p:grpSpPr>
        <p:sp>
          <p:nvSpPr>
            <p:cNvPr id="15" name="Freihandform: Form 36">
              <a:extLst>
                <a:ext uri="{FF2B5EF4-FFF2-40B4-BE49-F238E27FC236}">
                  <a16:creationId xmlns:a16="http://schemas.microsoft.com/office/drawing/2014/main" id="{6B81F7C2-50E7-D648-A1CA-DE8AF9652D34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ihandform: Form 36">
              <a:extLst>
                <a:ext uri="{FF2B5EF4-FFF2-40B4-BE49-F238E27FC236}">
                  <a16:creationId xmlns:a16="http://schemas.microsoft.com/office/drawing/2014/main" id="{15DF55AD-F834-9347-9E93-6BEEA3FBCAB3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8184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1587030"/>
            <a:ext cx="7856911" cy="1477328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375890"/>
            <a:ext cx="9212849" cy="984885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32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3CC68A23-E418-487E-BB61-DBF9AB5D5585}"/>
              </a:ext>
            </a:extLst>
          </p:cNvPr>
          <p:cNvSpPr/>
          <p:nvPr userDrawn="1"/>
        </p:nvSpPr>
        <p:spPr>
          <a:xfrm>
            <a:off x="9413269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lvl="0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47771F56-AB96-4166-9A11-401910BDF52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897" y="5679467"/>
            <a:ext cx="4310578" cy="721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130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 userDrawn="1">
          <p15:clr>
            <a:srgbClr val="A4A3A4"/>
          </p15:clr>
        </p15:guide>
        <p15:guide id="4" orient="horz" pos="754" userDrawn="1">
          <p15:clr>
            <a:srgbClr val="A4A3A4"/>
          </p15:clr>
        </p15:guide>
        <p15:guide id="5" orient="horz" pos="640" userDrawn="1">
          <p15:clr>
            <a:srgbClr val="A4A3A4"/>
          </p15:clr>
        </p15:guide>
        <p15:guide id="6" orient="horz" pos="210" userDrawn="1">
          <p15:clr>
            <a:srgbClr val="A4A3A4"/>
          </p15:clr>
        </p15:guide>
        <p15:guide id="7" pos="7197" userDrawn="1">
          <p15:clr>
            <a:srgbClr val="A4A3A4"/>
          </p15:clr>
        </p15:guide>
        <p15:guide id="8" orient="horz" pos="4065" userDrawn="1">
          <p15:clr>
            <a:srgbClr val="A4A3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U // Titel mit Text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5026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 dirty="0"/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196975"/>
            <a:ext cx="10658475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0" name="Freeform 18">
            <a:extLst>
              <a:ext uri="{FF2B5EF4-FFF2-40B4-BE49-F238E27FC236}">
                <a16:creationId xmlns:a16="http://schemas.microsoft.com/office/drawing/2014/main" id="{05FA0CE4-5D53-C84B-8B20-1E42F54E1EC2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8C5DB09-5C68-4A51-BB61-6A35A5EA54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graphicFrame>
        <p:nvGraphicFramePr>
          <p:cNvPr id="11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42504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 dirty="0"/>
          </a:p>
        </p:txBody>
      </p:sp>
      <p:sp>
        <p:nvSpPr>
          <p:cNvPr id="19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0" name="Freeform 18">
            <a:extLst>
              <a:ext uri="{FF2B5EF4-FFF2-40B4-BE49-F238E27FC236}">
                <a16:creationId xmlns:a16="http://schemas.microsoft.com/office/drawing/2014/main" id="{05FA0CE4-5D53-C84B-8B20-1E42F54E1EC2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15586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U // Titel mit 2 Texten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4664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4209D648-2061-5046-99E8-F0032076507F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46CA8B-55FE-4609-B8B1-366C2FDEA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graphicFrame>
        <p:nvGraphicFramePr>
          <p:cNvPr id="18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8820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1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2" name="Freeform 18">
            <a:extLst>
              <a:ext uri="{FF2B5EF4-FFF2-40B4-BE49-F238E27FC236}">
                <a16:creationId xmlns:a16="http://schemas.microsoft.com/office/drawing/2014/main" id="{4209D648-2061-5046-99E8-F0032076507F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3079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953" userDrawn="1">
          <p15:clr>
            <a:srgbClr val="FBAE40"/>
          </p15:clr>
        </p15:guide>
        <p15:guide id="4" pos="3727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U // Titel mit Text und Bild (links)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2437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A6C50B6-EE9C-4EAD-9302-1089F6C937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66763" y="1196974"/>
            <a:ext cx="5149849" cy="5256213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634F4E53-68FE-5B4B-AFEA-A9D856AB7EE4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382014B-9E10-4003-A8A5-0A7AE084A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graphicFrame>
        <p:nvGraphicFramePr>
          <p:cNvPr id="12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15980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0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1" name="Freeform 18">
            <a:extLst>
              <a:ext uri="{FF2B5EF4-FFF2-40B4-BE49-F238E27FC236}">
                <a16:creationId xmlns:a16="http://schemas.microsoft.com/office/drawing/2014/main" id="{634F4E53-68FE-5B4B-AFEA-A9D856AB7EE4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540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953" userDrawn="1">
          <p15:clr>
            <a:srgbClr val="FBAE40"/>
          </p15:clr>
        </p15:guide>
        <p15:guide id="4" pos="3727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U // Nur TItel 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714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Freihandform: Form 36">
            <a:extLst>
              <a:ext uri="{FF2B5EF4-FFF2-40B4-BE49-F238E27FC236}">
                <a16:creationId xmlns:a16="http://schemas.microsoft.com/office/drawing/2014/main" id="{A7F06665-152A-4CED-B3D8-729B25AB76E1}"/>
              </a:ext>
            </a:extLst>
          </p:cNvPr>
          <p:cNvSpPr/>
          <p:nvPr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0" name="Freihandform: Form 21">
            <a:extLst>
              <a:ext uri="{FF2B5EF4-FFF2-40B4-BE49-F238E27FC236}">
                <a16:creationId xmlns:a16="http://schemas.microsoft.com/office/drawing/2014/main" id="{4BA9D35E-1141-428C-9F79-E0BDCB6AA114}"/>
              </a:ext>
            </a:extLst>
          </p:cNvPr>
          <p:cNvSpPr/>
          <p:nvPr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7B349B1B-53F0-B14F-9FF7-28103A8A48C0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AF1B2C0-D18A-47DE-998E-0E5C6DB85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graphicFrame>
        <p:nvGraphicFramePr>
          <p:cNvPr id="12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76179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Freihandform: Form 36">
            <a:extLst>
              <a:ext uri="{FF2B5EF4-FFF2-40B4-BE49-F238E27FC236}">
                <a16:creationId xmlns:a16="http://schemas.microsoft.com/office/drawing/2014/main" id="{A7F06665-152A-4CED-B3D8-729B25AB76E1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4BA9D35E-1141-428C-9F79-E0BDCB6AA114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9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0" name="Freeform 18">
            <a:extLst>
              <a:ext uri="{FF2B5EF4-FFF2-40B4-BE49-F238E27FC236}">
                <a16:creationId xmlns:a16="http://schemas.microsoft.com/office/drawing/2014/main" id="{7B349B1B-53F0-B14F-9FF7-28103A8A48C0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88163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U // Titel mit Text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6802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ihandform: Form 36">
            <a:extLst>
              <a:ext uri="{FF2B5EF4-FFF2-40B4-BE49-F238E27FC236}">
                <a16:creationId xmlns:a16="http://schemas.microsoft.com/office/drawing/2014/main" id="{12AB1E37-61EF-4B21-87C8-62D9A96380FA}"/>
              </a:ext>
            </a:extLst>
          </p:cNvPr>
          <p:cNvSpPr/>
          <p:nvPr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1" name="Freihandform: Form 21">
            <a:extLst>
              <a:ext uri="{FF2B5EF4-FFF2-40B4-BE49-F238E27FC236}">
                <a16:creationId xmlns:a16="http://schemas.microsoft.com/office/drawing/2014/main" id="{AB9A4A69-642E-4B6F-BC03-A66E21D39775}"/>
              </a:ext>
            </a:extLst>
          </p:cNvPr>
          <p:cNvSpPr/>
          <p:nvPr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196975"/>
            <a:ext cx="10658475" cy="41006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BA3FB8F9-523F-3F49-BA47-CE86CA467970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16F4FFE-663F-4DB8-AC2E-A5EDBB1291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graphicFrame>
        <p:nvGraphicFramePr>
          <p:cNvPr id="17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56385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Freihandform: Form 36">
            <a:extLst>
              <a:ext uri="{FF2B5EF4-FFF2-40B4-BE49-F238E27FC236}">
                <a16:creationId xmlns:a16="http://schemas.microsoft.com/office/drawing/2014/main" id="{12AB1E37-61EF-4B21-87C8-62D9A96380FA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0" name="Freihandform: Form 21">
            <a:extLst>
              <a:ext uri="{FF2B5EF4-FFF2-40B4-BE49-F238E27FC236}">
                <a16:creationId xmlns:a16="http://schemas.microsoft.com/office/drawing/2014/main" id="{AB9A4A69-642E-4B6F-BC03-A66E21D39775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1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2" name="Freeform 18">
            <a:extLst>
              <a:ext uri="{FF2B5EF4-FFF2-40B4-BE49-F238E27FC236}">
                <a16:creationId xmlns:a16="http://schemas.microsoft.com/office/drawing/2014/main" id="{BA3FB8F9-523F-3F49-BA47-CE86CA467970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7022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U // Titel mit 2 Texten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6779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6"/>
            <a:ext cx="5149850" cy="410064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6"/>
            <a:ext cx="5149850" cy="41006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96E79C0D-9CB3-5241-8E38-AA450520B8C8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D5EEE30-6705-44A0-891F-536BF776F2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graphicFrame>
        <p:nvGraphicFramePr>
          <p:cNvPr id="19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60639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3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4" name="Freeform 18">
            <a:extLst>
              <a:ext uri="{FF2B5EF4-FFF2-40B4-BE49-F238E27FC236}">
                <a16:creationId xmlns:a16="http://schemas.microsoft.com/office/drawing/2014/main" id="{96E79C0D-9CB3-5241-8E38-AA450520B8C8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3062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339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U // Titel mit Text und Bild (links)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2026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6"/>
            <a:ext cx="5149850" cy="410064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1E1B4485-1F72-42D7-ACC3-9EDC24543BB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66763" y="1196974"/>
            <a:ext cx="5149849" cy="4965818"/>
          </a:xfrm>
          <a:custGeom>
            <a:avLst/>
            <a:gdLst>
              <a:gd name="connsiteX0" fmla="*/ 0 w 5149849"/>
              <a:gd name="connsiteY0" fmla="*/ 0 h 4965818"/>
              <a:gd name="connsiteX1" fmla="*/ 5149849 w 5149849"/>
              <a:gd name="connsiteY1" fmla="*/ 0 h 4965818"/>
              <a:gd name="connsiteX2" fmla="*/ 5149849 w 5149849"/>
              <a:gd name="connsiteY2" fmla="*/ 4468436 h 4965818"/>
              <a:gd name="connsiteX3" fmla="*/ 0 w 5149849"/>
              <a:gd name="connsiteY3" fmla="*/ 4965818 h 4965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9849" h="4965818">
                <a:moveTo>
                  <a:pt x="0" y="0"/>
                </a:moveTo>
                <a:lnTo>
                  <a:pt x="5149849" y="0"/>
                </a:lnTo>
                <a:lnTo>
                  <a:pt x="5149849" y="4468436"/>
                </a:lnTo>
                <a:lnTo>
                  <a:pt x="0" y="496581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C13D84C5-27C9-8244-AE4C-B1FF9BA7BDD8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4D003A0-D044-4DCD-B55E-66422C600D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graphicFrame>
        <p:nvGraphicFramePr>
          <p:cNvPr id="13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62206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3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4" name="Freeform 18">
            <a:extLst>
              <a:ext uri="{FF2B5EF4-FFF2-40B4-BE49-F238E27FC236}">
                <a16:creationId xmlns:a16="http://schemas.microsoft.com/office/drawing/2014/main" id="{C13D84C5-27C9-8244-AE4C-B1FF9BA7BDD8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9542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566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U // Titel mit Text und Bild (rechts)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2897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7CB5D3-8679-4C40-98D0-C4A69CB342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6"/>
            <a:ext cx="5149850" cy="44640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1D8CB5B5-C1E3-4EDF-9F8A-AF64BDF3632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75389" y="1196975"/>
            <a:ext cx="5149849" cy="4439485"/>
          </a:xfrm>
          <a:custGeom>
            <a:avLst/>
            <a:gdLst>
              <a:gd name="connsiteX0" fmla="*/ 0 w 5149849"/>
              <a:gd name="connsiteY0" fmla="*/ 0 h 4439485"/>
              <a:gd name="connsiteX1" fmla="*/ 5149849 w 5149849"/>
              <a:gd name="connsiteY1" fmla="*/ 0 h 4439485"/>
              <a:gd name="connsiteX2" fmla="*/ 5149849 w 5149849"/>
              <a:gd name="connsiteY2" fmla="*/ 3942103 h 4439485"/>
              <a:gd name="connsiteX3" fmla="*/ 0 w 5149849"/>
              <a:gd name="connsiteY3" fmla="*/ 4439485 h 4439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9849" h="4439485">
                <a:moveTo>
                  <a:pt x="0" y="0"/>
                </a:moveTo>
                <a:lnTo>
                  <a:pt x="5149849" y="0"/>
                </a:lnTo>
                <a:lnTo>
                  <a:pt x="5149849" y="3942103"/>
                </a:lnTo>
                <a:lnTo>
                  <a:pt x="0" y="443948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F5D9D0D2-7EDA-4947-AB3D-52786C15FACA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BB85738-5B86-46A3-A123-248D01111F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graphicFrame>
        <p:nvGraphicFramePr>
          <p:cNvPr id="17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0028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1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2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3" name="Freeform 18">
            <a:extLst>
              <a:ext uri="{FF2B5EF4-FFF2-40B4-BE49-F238E27FC236}">
                <a16:creationId xmlns:a16="http://schemas.microsoft.com/office/drawing/2014/main" id="{F5D9D0D2-7EDA-4947-AB3D-52786C15FACA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230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589" userDrawn="1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U // Titel mit Text und Bild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5058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1D09B2C-D8C1-41B9-BF6B-D36D9023B68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196976"/>
            <a:ext cx="10658475" cy="35488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19927C1F-62FD-0A46-8A61-573819706D54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5AF321D-0B4D-4551-BEC7-9EEC195A0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graphicFrame>
        <p:nvGraphicFramePr>
          <p:cNvPr id="13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88152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19927C1F-62FD-0A46-8A61-573819706D54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846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ÜN // Nur TItel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239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9" name="Freeform 18">
            <a:extLst>
              <a:ext uri="{FF2B5EF4-FFF2-40B4-BE49-F238E27FC236}">
                <a16:creationId xmlns:a16="http://schemas.microsoft.com/office/drawing/2014/main" id="{8BE06C8C-7049-2545-905A-C16E8F707408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DF9595B-11B3-4259-84E9-EA0F02B6A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graphicFrame>
        <p:nvGraphicFramePr>
          <p:cNvPr id="10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20047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7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Freeform 18">
            <a:extLst>
              <a:ext uri="{FF2B5EF4-FFF2-40B4-BE49-F238E27FC236}">
                <a16:creationId xmlns:a16="http://schemas.microsoft.com/office/drawing/2014/main" id="{8BE06C8C-7049-2545-905A-C16E8F707408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38616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/ 1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42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0E83E4A-9A3D-4624-A632-4365CC9008C6}"/>
              </a:ext>
            </a:extLst>
          </p:cNvPr>
          <p:cNvGrpSpPr/>
          <p:nvPr userDrawn="1"/>
        </p:nvGrpSpPr>
        <p:grpSpPr>
          <a:xfrm>
            <a:off x="-14320" y="4523949"/>
            <a:ext cx="12206319" cy="2084670"/>
            <a:chOff x="-14320" y="4773330"/>
            <a:chExt cx="12206319" cy="2084670"/>
          </a:xfrm>
          <a:solidFill>
            <a:schemeClr val="bg1"/>
          </a:solidFill>
        </p:grpSpPr>
        <p:sp>
          <p:nvSpPr>
            <p:cNvPr id="12" name="Freihandform: Form 36">
              <a:extLst>
                <a:ext uri="{FF2B5EF4-FFF2-40B4-BE49-F238E27FC236}">
                  <a16:creationId xmlns:a16="http://schemas.microsoft.com/office/drawing/2014/main" id="{0CCDEB08-509C-412A-B334-886FA8CA4A53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Freihandform: Form 36">
              <a:extLst>
                <a:ext uri="{FF2B5EF4-FFF2-40B4-BE49-F238E27FC236}">
                  <a16:creationId xmlns:a16="http://schemas.microsoft.com/office/drawing/2014/main" id="{5F6B9C06-4759-4BDD-8A87-6A0B93D8BF27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B158FD-BC8B-4BD7-B30C-33155EC07E27}"/>
              </a:ext>
            </a:extLst>
          </p:cNvPr>
          <p:cNvGrpSpPr/>
          <p:nvPr userDrawn="1"/>
        </p:nvGrpSpPr>
        <p:grpSpPr>
          <a:xfrm>
            <a:off x="-14320" y="4773330"/>
            <a:ext cx="12206319" cy="2084670"/>
            <a:chOff x="-14320" y="4773330"/>
            <a:chExt cx="12206319" cy="2084670"/>
          </a:xfrm>
          <a:solidFill>
            <a:schemeClr val="tx1"/>
          </a:solidFill>
        </p:grpSpPr>
        <p:sp>
          <p:nvSpPr>
            <p:cNvPr id="18" name="Freihandform: Form 36">
              <a:extLst>
                <a:ext uri="{FF2B5EF4-FFF2-40B4-BE49-F238E27FC236}">
                  <a16:creationId xmlns:a16="http://schemas.microsoft.com/office/drawing/2014/main" id="{276FF15F-79EA-48EF-AB19-8EF5B83AA268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9" name="Freihandform: Form 36">
              <a:extLst>
                <a:ext uri="{FF2B5EF4-FFF2-40B4-BE49-F238E27FC236}">
                  <a16:creationId xmlns:a16="http://schemas.microsoft.com/office/drawing/2014/main" id="{EE10ADC2-F397-424B-A593-F7D24FE8F642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0" name="Freeform 27">
            <a:extLst>
              <a:ext uri="{FF2B5EF4-FFF2-40B4-BE49-F238E27FC236}">
                <a16:creationId xmlns:a16="http://schemas.microsoft.com/office/drawing/2014/main" id="{F99D45B5-30C5-4D8C-AD9A-57761B90366A}"/>
              </a:ext>
            </a:extLst>
          </p:cNvPr>
          <p:cNvSpPr/>
          <p:nvPr userDrawn="1"/>
        </p:nvSpPr>
        <p:spPr>
          <a:xfrm>
            <a:off x="9950300" y="5187321"/>
            <a:ext cx="2014480" cy="1670373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ABC8BF24-69D2-4ED3-A927-999B8112752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5612" y="5849915"/>
            <a:ext cx="2676530" cy="448275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69500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8B7D36-4FC7-458A-91CB-590EC0375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333692"/>
            <a:ext cx="6950075" cy="680356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01044316-A55F-4672-890E-8E36CD55FAD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67663" y="333692"/>
            <a:ext cx="4224337" cy="4614736"/>
          </a:xfrm>
          <a:custGeom>
            <a:avLst/>
            <a:gdLst>
              <a:gd name="connsiteX0" fmla="*/ 0 w 4224337"/>
              <a:gd name="connsiteY0" fmla="*/ 0 h 4614736"/>
              <a:gd name="connsiteX1" fmla="*/ 4224337 w 4224337"/>
              <a:gd name="connsiteY1" fmla="*/ 0 h 4614736"/>
              <a:gd name="connsiteX2" fmla="*/ 4224337 w 4224337"/>
              <a:gd name="connsiteY2" fmla="*/ 4206741 h 4614736"/>
              <a:gd name="connsiteX3" fmla="*/ 0 w 4224337"/>
              <a:gd name="connsiteY3" fmla="*/ 4614736 h 4614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4337" h="4614736">
                <a:moveTo>
                  <a:pt x="0" y="0"/>
                </a:moveTo>
                <a:lnTo>
                  <a:pt x="4224337" y="0"/>
                </a:lnTo>
                <a:lnTo>
                  <a:pt x="4224337" y="4206741"/>
                </a:lnTo>
                <a:lnTo>
                  <a:pt x="0" y="461473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66707-4BCC-41E0-BEB4-0622C3F345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2039265"/>
            <a:ext cx="6842125" cy="2357331"/>
          </a:xfrm>
        </p:spPr>
        <p:txBody>
          <a:bodyPr anchor="ctr">
            <a:normAutofit/>
          </a:bodyPr>
          <a:lstStyle>
            <a:lvl1pPr marL="457200" indent="-457200">
              <a:buFont typeface="+mj-lt"/>
              <a:buAutoNum type="arabicPeriod"/>
              <a:defRPr sz="2400" baseline="0"/>
            </a:lvl1pPr>
            <a:lvl2pPr marL="358775" indent="0">
              <a:buFont typeface="+mj-lt"/>
              <a:buNone/>
              <a:defRPr sz="2400"/>
            </a:lvl2pPr>
            <a:lvl3pPr marL="457200" indent="-457200">
              <a:buFont typeface="+mj-lt"/>
              <a:buAutoNum type="arabicPeriod"/>
              <a:defRPr sz="2400"/>
            </a:lvl3pPr>
            <a:lvl4pPr marL="457200" indent="-457200">
              <a:buFont typeface="+mj-lt"/>
              <a:buAutoNum type="arabicPeriod"/>
              <a:defRPr sz="2400"/>
            </a:lvl4pPr>
            <a:lvl5pPr marL="457200" indent="-457200">
              <a:buFont typeface="+mj-lt"/>
              <a:buAutoNum type="arabicPeriod"/>
              <a:defRPr sz="24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8193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F26B43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ÜN // Titel mit Text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2966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196975"/>
            <a:ext cx="10658475" cy="5256213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Freeform 18">
            <a:extLst>
              <a:ext uri="{FF2B5EF4-FFF2-40B4-BE49-F238E27FC236}">
                <a16:creationId xmlns:a16="http://schemas.microsoft.com/office/drawing/2014/main" id="{6580AE2E-E7A4-8147-9D10-46D4FED9C736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D37B052-2223-4CD4-B48D-85AE3175C6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graphicFrame>
        <p:nvGraphicFramePr>
          <p:cNvPr id="11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5616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9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0" name="Freeform 18">
            <a:extLst>
              <a:ext uri="{FF2B5EF4-FFF2-40B4-BE49-F238E27FC236}">
                <a16:creationId xmlns:a16="http://schemas.microsoft.com/office/drawing/2014/main" id="{6580AE2E-E7A4-8147-9D10-46D4FED9C736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448517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ÜN // Titel mit 2 Texten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159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95936665-1D34-4541-BAA1-D13E54A42DF7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4BE0294-C1AD-463F-9932-14FF898FD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graphicFrame>
        <p:nvGraphicFramePr>
          <p:cNvPr id="18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1498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1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2" name="Freeform 18">
            <a:extLst>
              <a:ext uri="{FF2B5EF4-FFF2-40B4-BE49-F238E27FC236}">
                <a16:creationId xmlns:a16="http://schemas.microsoft.com/office/drawing/2014/main" id="{95936665-1D34-4541-BAA1-D13E54A42DF7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6621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ÜN // Nur TItel 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4595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9" name="Freihandform: Form 36">
            <a:extLst>
              <a:ext uri="{FF2B5EF4-FFF2-40B4-BE49-F238E27FC236}">
                <a16:creationId xmlns:a16="http://schemas.microsoft.com/office/drawing/2014/main" id="{A7F06665-152A-4CED-B3D8-729B25AB76E1}"/>
              </a:ext>
            </a:extLst>
          </p:cNvPr>
          <p:cNvSpPr/>
          <p:nvPr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0" name="Freihandform: Form 21">
            <a:extLst>
              <a:ext uri="{FF2B5EF4-FFF2-40B4-BE49-F238E27FC236}">
                <a16:creationId xmlns:a16="http://schemas.microsoft.com/office/drawing/2014/main" id="{4BA9D35E-1141-428C-9F79-E0BDCB6AA114}"/>
              </a:ext>
            </a:extLst>
          </p:cNvPr>
          <p:cNvSpPr/>
          <p:nvPr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FF28E917-7CDB-B047-85A6-D68875D6D2BB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5D3F80B-02F8-465D-BCDE-DF5E4A68D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graphicFrame>
        <p:nvGraphicFramePr>
          <p:cNvPr id="12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82515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reihandform: Form 36">
            <a:extLst>
              <a:ext uri="{FF2B5EF4-FFF2-40B4-BE49-F238E27FC236}">
                <a16:creationId xmlns:a16="http://schemas.microsoft.com/office/drawing/2014/main" id="{A7F06665-152A-4CED-B3D8-729B25AB76E1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9" name="Freihandform: Form 21">
            <a:extLst>
              <a:ext uri="{FF2B5EF4-FFF2-40B4-BE49-F238E27FC236}">
                <a16:creationId xmlns:a16="http://schemas.microsoft.com/office/drawing/2014/main" id="{4BA9D35E-1141-428C-9F79-E0BDCB6AA114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0" name="Freeform 18">
            <a:extLst>
              <a:ext uri="{FF2B5EF4-FFF2-40B4-BE49-F238E27FC236}">
                <a16:creationId xmlns:a16="http://schemas.microsoft.com/office/drawing/2014/main" id="{FF28E917-7CDB-B047-85A6-D68875D6D2BB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311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ÜN // Titel mit Text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995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Freihandform: Form 36">
            <a:extLst>
              <a:ext uri="{FF2B5EF4-FFF2-40B4-BE49-F238E27FC236}">
                <a16:creationId xmlns:a16="http://schemas.microsoft.com/office/drawing/2014/main" id="{12AB1E37-61EF-4B21-87C8-62D9A96380FA}"/>
              </a:ext>
            </a:extLst>
          </p:cNvPr>
          <p:cNvSpPr/>
          <p:nvPr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1" name="Freihandform: Form 21">
            <a:extLst>
              <a:ext uri="{FF2B5EF4-FFF2-40B4-BE49-F238E27FC236}">
                <a16:creationId xmlns:a16="http://schemas.microsoft.com/office/drawing/2014/main" id="{AB9A4A69-642E-4B6F-BC03-A66E21D39775}"/>
              </a:ext>
            </a:extLst>
          </p:cNvPr>
          <p:cNvSpPr/>
          <p:nvPr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196976"/>
            <a:ext cx="10658475" cy="4100650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A9207D9E-A8D2-D441-8F1A-99EA8AC89D59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A46B979-61EF-4DDE-850D-A9C522E48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graphicFrame>
        <p:nvGraphicFramePr>
          <p:cNvPr id="17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04943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0" name="Freihandform: Form 36">
            <a:extLst>
              <a:ext uri="{FF2B5EF4-FFF2-40B4-BE49-F238E27FC236}">
                <a16:creationId xmlns:a16="http://schemas.microsoft.com/office/drawing/2014/main" id="{12AB1E37-61EF-4B21-87C8-62D9A96380FA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1" name="Freihandform: Form 21">
            <a:extLst>
              <a:ext uri="{FF2B5EF4-FFF2-40B4-BE49-F238E27FC236}">
                <a16:creationId xmlns:a16="http://schemas.microsoft.com/office/drawing/2014/main" id="{AB9A4A69-642E-4B6F-BC03-A66E21D39775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2" name="Freeform 18">
            <a:extLst>
              <a:ext uri="{FF2B5EF4-FFF2-40B4-BE49-F238E27FC236}">
                <a16:creationId xmlns:a16="http://schemas.microsoft.com/office/drawing/2014/main" id="{A9207D9E-A8D2-D441-8F1A-99EA8AC89D59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71031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ÜN // Titel mit 2 Texten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5520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5"/>
            <a:ext cx="5149850" cy="410033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6"/>
            <a:ext cx="5149850" cy="41006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9EBD5B88-9E28-0843-BBBC-03C3B8F7928B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B3124B4-073E-4AA4-A8AF-077A24B5A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graphicFrame>
        <p:nvGraphicFramePr>
          <p:cNvPr id="19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01195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2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3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4" name="Freeform 18">
            <a:extLst>
              <a:ext uri="{FF2B5EF4-FFF2-40B4-BE49-F238E27FC236}">
                <a16:creationId xmlns:a16="http://schemas.microsoft.com/office/drawing/2014/main" id="{9EBD5B88-9E28-0843-BBBC-03C3B8F7928B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7340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339" userDrawn="1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e mit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0596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C70416A-78D1-4FAA-9263-419E74D1E3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2"/>
            <a:ext cx="5185237" cy="5234188"/>
          </a:xfrm>
          <a:custGeom>
            <a:avLst/>
            <a:gdLst>
              <a:gd name="connsiteX0" fmla="*/ 0 w 5185237"/>
              <a:gd name="connsiteY0" fmla="*/ 0 h 5234188"/>
              <a:gd name="connsiteX1" fmla="*/ 5185237 w 5185237"/>
              <a:gd name="connsiteY1" fmla="*/ 0 h 5234188"/>
              <a:gd name="connsiteX2" fmla="*/ 5185237 w 5185237"/>
              <a:gd name="connsiteY2" fmla="*/ 4735298 h 5234188"/>
              <a:gd name="connsiteX3" fmla="*/ 2431692 w 5185237"/>
              <a:gd name="connsiteY3" fmla="*/ 5000227 h 5234188"/>
              <a:gd name="connsiteX4" fmla="*/ 0 w 5185237"/>
              <a:gd name="connsiteY4" fmla="*/ 5234188 h 5234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85237" h="5234188">
                <a:moveTo>
                  <a:pt x="0" y="0"/>
                </a:moveTo>
                <a:lnTo>
                  <a:pt x="5185237" y="0"/>
                </a:lnTo>
                <a:lnTo>
                  <a:pt x="5185237" y="4735298"/>
                </a:lnTo>
                <a:lnTo>
                  <a:pt x="2431692" y="5000227"/>
                </a:lnTo>
                <a:lnTo>
                  <a:pt x="0" y="523418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504000" rIns="360000" bIns="504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D38BFF1B-73CF-4984-9F29-2D30CCD703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000" y="335585"/>
            <a:ext cx="5185236" cy="4707587"/>
          </a:xfrm>
          <a:custGeom>
            <a:avLst/>
            <a:gdLst>
              <a:gd name="connsiteX0" fmla="*/ 0 w 5185236"/>
              <a:gd name="connsiteY0" fmla="*/ 0 h 4707587"/>
              <a:gd name="connsiteX1" fmla="*/ 5185236 w 5185236"/>
              <a:gd name="connsiteY1" fmla="*/ 0 h 4707587"/>
              <a:gd name="connsiteX2" fmla="*/ 5185236 w 5185236"/>
              <a:gd name="connsiteY2" fmla="*/ 4208697 h 4707587"/>
              <a:gd name="connsiteX3" fmla="*/ 0 w 5185236"/>
              <a:gd name="connsiteY3" fmla="*/ 4707587 h 4707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5236" h="4707587">
                <a:moveTo>
                  <a:pt x="0" y="0"/>
                </a:moveTo>
                <a:lnTo>
                  <a:pt x="5185236" y="0"/>
                </a:lnTo>
                <a:lnTo>
                  <a:pt x="5185236" y="4208697"/>
                </a:lnTo>
                <a:lnTo>
                  <a:pt x="0" y="470758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504000" rIns="360000" bIns="504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8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26361" y="3558602"/>
            <a:ext cx="2069066" cy="1715020"/>
          </a:xfrm>
          <a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9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28201" y="4484284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graphicFrame>
        <p:nvGraphicFramePr>
          <p:cNvPr id="13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081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84" imgH="385" progId="TCLayout.ActiveDocument.1">
                  <p:embed/>
                </p:oleObj>
              </mc:Choice>
              <mc:Fallback>
                <p:oleObj name="think-cell Folie" r:id="rId10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7556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3749" userDrawn="1">
          <p15:clr>
            <a:srgbClr val="F26B43"/>
          </p15:clr>
        </p15:guide>
        <p15:guide id="8" pos="3931" userDrawn="1">
          <p15:clr>
            <a:srgbClr val="F26B43"/>
          </p15:clr>
        </p15:guide>
        <p15:guide id="9" orient="horz" pos="754" userDrawn="1">
          <p15:clr>
            <a:srgbClr val="A4A3A4"/>
          </p15:clr>
        </p15:guide>
        <p15:guide id="10" orient="horz" pos="640" userDrawn="1">
          <p15:clr>
            <a:srgbClr val="A4A3A4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e mit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864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60ED6361-F72E-4082-BD9A-CC3E00274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70195F57-E2B4-4C17-921E-D0505DD50D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3"/>
            <a:ext cx="3349484" cy="5230829"/>
          </a:xfrm>
          <a:custGeom>
            <a:avLst/>
            <a:gdLst>
              <a:gd name="connsiteX0" fmla="*/ 0 w 3349484"/>
              <a:gd name="connsiteY0" fmla="*/ 0 h 5230829"/>
              <a:gd name="connsiteX1" fmla="*/ 3349484 w 3349484"/>
              <a:gd name="connsiteY1" fmla="*/ 0 h 5230829"/>
              <a:gd name="connsiteX2" fmla="*/ 3349484 w 3349484"/>
              <a:gd name="connsiteY2" fmla="*/ 4907329 h 5230829"/>
              <a:gd name="connsiteX3" fmla="*/ 0 w 3349484"/>
              <a:gd name="connsiteY3" fmla="*/ 5230829 h 523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4" h="5230829">
                <a:moveTo>
                  <a:pt x="0" y="0"/>
                </a:moveTo>
                <a:lnTo>
                  <a:pt x="3349484" y="0"/>
                </a:lnTo>
                <a:lnTo>
                  <a:pt x="3349484" y="4907329"/>
                </a:lnTo>
                <a:lnTo>
                  <a:pt x="0" y="523082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42F5AE94-26CB-4B52-9D32-BB3573223A2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335583"/>
            <a:ext cx="3384549" cy="4879564"/>
          </a:xfrm>
          <a:custGeom>
            <a:avLst/>
            <a:gdLst>
              <a:gd name="connsiteX0" fmla="*/ 0 w 3384549"/>
              <a:gd name="connsiteY0" fmla="*/ 0 h 4879564"/>
              <a:gd name="connsiteX1" fmla="*/ 3384549 w 3384549"/>
              <a:gd name="connsiteY1" fmla="*/ 0 h 4879564"/>
              <a:gd name="connsiteX2" fmla="*/ 3384549 w 3384549"/>
              <a:gd name="connsiteY2" fmla="*/ 4552678 h 4879564"/>
              <a:gd name="connsiteX3" fmla="*/ 0 w 3384549"/>
              <a:gd name="connsiteY3" fmla="*/ 4879564 h 4879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4549" h="4879564">
                <a:moveTo>
                  <a:pt x="0" y="0"/>
                </a:moveTo>
                <a:lnTo>
                  <a:pt x="3384549" y="0"/>
                </a:lnTo>
                <a:lnTo>
                  <a:pt x="3384549" y="4552678"/>
                </a:lnTo>
                <a:lnTo>
                  <a:pt x="0" y="48795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8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B081B6C1-45B0-4E79-BBD7-9988F5587DD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75751" y="335583"/>
            <a:ext cx="3349487" cy="4524912"/>
          </a:xfrm>
          <a:custGeom>
            <a:avLst/>
            <a:gdLst>
              <a:gd name="connsiteX0" fmla="*/ 0 w 3349487"/>
              <a:gd name="connsiteY0" fmla="*/ 0 h 4524912"/>
              <a:gd name="connsiteX1" fmla="*/ 3349487 w 3349487"/>
              <a:gd name="connsiteY1" fmla="*/ 0 h 4524912"/>
              <a:gd name="connsiteX2" fmla="*/ 3349487 w 3349487"/>
              <a:gd name="connsiteY2" fmla="*/ 4201413 h 4524912"/>
              <a:gd name="connsiteX3" fmla="*/ 0 w 3349487"/>
              <a:gd name="connsiteY3" fmla="*/ 4524912 h 452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7" h="4524912">
                <a:moveTo>
                  <a:pt x="0" y="0"/>
                </a:moveTo>
                <a:lnTo>
                  <a:pt x="3349487" y="0"/>
                </a:lnTo>
                <a:lnTo>
                  <a:pt x="3349487" y="4201413"/>
                </a:lnTo>
                <a:lnTo>
                  <a:pt x="0" y="452491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FontTx/>
              <a:buBlip>
                <a:blip r:embed="rId9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4501" y="3763964"/>
            <a:ext cx="2069066" cy="1715020"/>
          </a:xfrm>
          <a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10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3063" y="4715053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graphicFrame>
        <p:nvGraphicFramePr>
          <p:cNvPr id="13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00641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384" imgH="385" progId="TCLayout.ActiveDocument.1">
                  <p:embed/>
                </p:oleObj>
              </mc:Choice>
              <mc:Fallback>
                <p:oleObj name="think-cell Folie" r:id="rId11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7824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4906" userDrawn="1">
          <p15:clr>
            <a:srgbClr val="F26B43"/>
          </p15:clr>
        </p15:guide>
        <p15:guide id="8" pos="2593" userDrawn="1">
          <p15:clr>
            <a:srgbClr val="F26B43"/>
          </p15:clr>
        </p15:guide>
        <p15:guide id="9" pos="2774" userDrawn="1">
          <p15:clr>
            <a:srgbClr val="F26B43"/>
          </p15:clr>
        </p15:guide>
        <p15:guide id="10" pos="5087" userDrawn="1">
          <p15:clr>
            <a:srgbClr val="F26B43"/>
          </p15:clr>
        </p15:guide>
        <p15:guide id="11" orient="horz" pos="754" userDrawn="1">
          <p15:clr>
            <a:srgbClr val="A4A3A4"/>
          </p15:clr>
        </p15:guide>
        <p15:guide id="12" orient="horz" pos="640" userDrawn="1">
          <p15:clr>
            <a:srgbClr val="A4A3A4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e mit Bildplatzhalter (unten) /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841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60ED6361-F72E-4082-BD9A-CC3E00274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70195F57-E2B4-4C17-921E-D0505DD50D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3"/>
            <a:ext cx="3349484" cy="5230829"/>
          </a:xfrm>
          <a:custGeom>
            <a:avLst/>
            <a:gdLst>
              <a:gd name="connsiteX0" fmla="*/ 0 w 3349484"/>
              <a:gd name="connsiteY0" fmla="*/ 0 h 5230829"/>
              <a:gd name="connsiteX1" fmla="*/ 3349484 w 3349484"/>
              <a:gd name="connsiteY1" fmla="*/ 0 h 5230829"/>
              <a:gd name="connsiteX2" fmla="*/ 3349484 w 3349484"/>
              <a:gd name="connsiteY2" fmla="*/ 4907329 h 5230829"/>
              <a:gd name="connsiteX3" fmla="*/ 0 w 3349484"/>
              <a:gd name="connsiteY3" fmla="*/ 5230829 h 523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4" h="5230829">
                <a:moveTo>
                  <a:pt x="0" y="0"/>
                </a:moveTo>
                <a:lnTo>
                  <a:pt x="3349484" y="0"/>
                </a:lnTo>
                <a:lnTo>
                  <a:pt x="3349484" y="4907329"/>
                </a:lnTo>
                <a:lnTo>
                  <a:pt x="0" y="523082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42F5AE94-26CB-4B52-9D32-BB3573223A2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335583"/>
            <a:ext cx="3384549" cy="4879564"/>
          </a:xfrm>
          <a:custGeom>
            <a:avLst/>
            <a:gdLst>
              <a:gd name="connsiteX0" fmla="*/ 0 w 3384549"/>
              <a:gd name="connsiteY0" fmla="*/ 0 h 4879564"/>
              <a:gd name="connsiteX1" fmla="*/ 3384549 w 3384549"/>
              <a:gd name="connsiteY1" fmla="*/ 0 h 4879564"/>
              <a:gd name="connsiteX2" fmla="*/ 3384549 w 3384549"/>
              <a:gd name="connsiteY2" fmla="*/ 4552678 h 4879564"/>
              <a:gd name="connsiteX3" fmla="*/ 0 w 3384549"/>
              <a:gd name="connsiteY3" fmla="*/ 4879564 h 4879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4549" h="4879564">
                <a:moveTo>
                  <a:pt x="0" y="0"/>
                </a:moveTo>
                <a:lnTo>
                  <a:pt x="3384549" y="0"/>
                </a:lnTo>
                <a:lnTo>
                  <a:pt x="3384549" y="4552678"/>
                </a:lnTo>
                <a:lnTo>
                  <a:pt x="0" y="48795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8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4501" y="3763964"/>
            <a:ext cx="2069066" cy="1715020"/>
          </a:xfrm>
          <a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9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3063" y="4715053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D934306D-3770-2A4E-A9E7-7D0A21B68A9E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3" name="Text Placeholder 55">
            <a:extLst>
              <a:ext uri="{FF2B5EF4-FFF2-40B4-BE49-F238E27FC236}">
                <a16:creationId xmlns:a16="http://schemas.microsoft.com/office/drawing/2014/main" id="{386C06A8-E4A0-47F2-A0F9-69485B85698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75751" y="335583"/>
            <a:ext cx="3349487" cy="4524912"/>
          </a:xfrm>
          <a:custGeom>
            <a:avLst/>
            <a:gdLst>
              <a:gd name="connsiteX0" fmla="*/ 0 w 3349487"/>
              <a:gd name="connsiteY0" fmla="*/ 0 h 4524912"/>
              <a:gd name="connsiteX1" fmla="*/ 3349487 w 3349487"/>
              <a:gd name="connsiteY1" fmla="*/ 0 h 4524912"/>
              <a:gd name="connsiteX2" fmla="*/ 3349487 w 3349487"/>
              <a:gd name="connsiteY2" fmla="*/ 4201413 h 4524912"/>
              <a:gd name="connsiteX3" fmla="*/ 0 w 3349487"/>
              <a:gd name="connsiteY3" fmla="*/ 4524912 h 452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7" h="4524912">
                <a:moveTo>
                  <a:pt x="0" y="0"/>
                </a:moveTo>
                <a:lnTo>
                  <a:pt x="3349487" y="0"/>
                </a:lnTo>
                <a:lnTo>
                  <a:pt x="3349487" y="4201413"/>
                </a:lnTo>
                <a:lnTo>
                  <a:pt x="0" y="452491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10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graphicFrame>
        <p:nvGraphicFramePr>
          <p:cNvPr id="16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55025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384" imgH="385" progId="TCLayout.ActiveDocument.1">
                  <p:embed/>
                </p:oleObj>
              </mc:Choice>
              <mc:Fallback>
                <p:oleObj name="think-cell Folie" r:id="rId11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Freeform 18">
            <a:extLst>
              <a:ext uri="{FF2B5EF4-FFF2-40B4-BE49-F238E27FC236}">
                <a16:creationId xmlns:a16="http://schemas.microsoft.com/office/drawing/2014/main" id="{D934306D-3770-2A4E-A9E7-7D0A21B68A9E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4942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4906" userDrawn="1">
          <p15:clr>
            <a:srgbClr val="F26B43"/>
          </p15:clr>
        </p15:guide>
        <p15:guide id="8" pos="2593" userDrawn="1">
          <p15:clr>
            <a:srgbClr val="F26B43"/>
          </p15:clr>
        </p15:guide>
        <p15:guide id="9" pos="2774" userDrawn="1">
          <p15:clr>
            <a:srgbClr val="F26B43"/>
          </p15:clr>
        </p15:guide>
        <p15:guide id="10" pos="5087" userDrawn="1">
          <p15:clr>
            <a:srgbClr val="F26B43"/>
          </p15:clr>
        </p15:guide>
        <p15:guide id="11" orient="horz" pos="754" userDrawn="1">
          <p15:clr>
            <a:srgbClr val="A4A3A4"/>
          </p15:clr>
        </p15:guide>
        <p15:guide id="12" orient="horz" pos="640" userDrawn="1">
          <p15:clr>
            <a:srgbClr val="A4A3A4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e mit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3426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60ED6361-F72E-4082-BD9A-CC3E00274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2AC76D0E-2E74-40A1-90B8-A4BCCDCE6C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4"/>
            <a:ext cx="2448618" cy="5234187"/>
          </a:xfrm>
          <a:custGeom>
            <a:avLst/>
            <a:gdLst>
              <a:gd name="connsiteX0" fmla="*/ 0 w 2448618"/>
              <a:gd name="connsiteY0" fmla="*/ 0 h 5234187"/>
              <a:gd name="connsiteX1" fmla="*/ 2448618 w 2448618"/>
              <a:gd name="connsiteY1" fmla="*/ 0 h 5234187"/>
              <a:gd name="connsiteX2" fmla="*/ 2448618 w 2448618"/>
              <a:gd name="connsiteY2" fmla="*/ 4998597 h 5234187"/>
              <a:gd name="connsiteX3" fmla="*/ 0 w 2448618"/>
              <a:gd name="connsiteY3" fmla="*/ 5234187 h 523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5234187">
                <a:moveTo>
                  <a:pt x="0" y="0"/>
                </a:moveTo>
                <a:lnTo>
                  <a:pt x="2448618" y="0"/>
                </a:lnTo>
                <a:lnTo>
                  <a:pt x="2448618" y="4998597"/>
                </a:lnTo>
                <a:lnTo>
                  <a:pt x="0" y="5234187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180000" tIns="360000" rIns="18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699A7C70-A183-4EE4-A764-684D3950B6C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03382" y="335585"/>
            <a:ext cx="2448619" cy="4970887"/>
          </a:xfrm>
          <a:custGeom>
            <a:avLst/>
            <a:gdLst>
              <a:gd name="connsiteX0" fmla="*/ 0 w 2448619"/>
              <a:gd name="connsiteY0" fmla="*/ 0 h 4970887"/>
              <a:gd name="connsiteX1" fmla="*/ 2448619 w 2448619"/>
              <a:gd name="connsiteY1" fmla="*/ 0 h 4970887"/>
              <a:gd name="connsiteX2" fmla="*/ 2448619 w 2448619"/>
              <a:gd name="connsiteY2" fmla="*/ 4735296 h 4970887"/>
              <a:gd name="connsiteX3" fmla="*/ 0 w 2448619"/>
              <a:gd name="connsiteY3" fmla="*/ 4970887 h 4970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9" h="4970887">
                <a:moveTo>
                  <a:pt x="0" y="0"/>
                </a:moveTo>
                <a:lnTo>
                  <a:pt x="2448619" y="0"/>
                </a:lnTo>
                <a:lnTo>
                  <a:pt x="2448619" y="4735296"/>
                </a:lnTo>
                <a:lnTo>
                  <a:pt x="0" y="497088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8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6540" y="3833610"/>
            <a:ext cx="2069066" cy="1715020"/>
          </a:xfrm>
          <a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9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91582" y="4745837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71A3D910-AF8D-4A10-93AD-2A155C4B53D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0000" y="335585"/>
            <a:ext cx="2448618" cy="4707587"/>
          </a:xfrm>
          <a:custGeom>
            <a:avLst/>
            <a:gdLst>
              <a:gd name="connsiteX0" fmla="*/ 0 w 2448618"/>
              <a:gd name="connsiteY0" fmla="*/ 0 h 4707587"/>
              <a:gd name="connsiteX1" fmla="*/ 2448618 w 2448618"/>
              <a:gd name="connsiteY1" fmla="*/ 0 h 4707587"/>
              <a:gd name="connsiteX2" fmla="*/ 2448618 w 2448618"/>
              <a:gd name="connsiteY2" fmla="*/ 4471997 h 4707587"/>
              <a:gd name="connsiteX3" fmla="*/ 0 w 2448618"/>
              <a:gd name="connsiteY3" fmla="*/ 4707587 h 4707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4707587">
                <a:moveTo>
                  <a:pt x="0" y="0"/>
                </a:moveTo>
                <a:lnTo>
                  <a:pt x="2448618" y="0"/>
                </a:lnTo>
                <a:lnTo>
                  <a:pt x="2448618" y="4471997"/>
                </a:lnTo>
                <a:lnTo>
                  <a:pt x="0" y="470758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10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54B18E07-3099-461D-AABB-46E95D25B0C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976618" y="335583"/>
            <a:ext cx="2448618" cy="4444288"/>
          </a:xfrm>
          <a:custGeom>
            <a:avLst/>
            <a:gdLst>
              <a:gd name="connsiteX0" fmla="*/ 0 w 2448618"/>
              <a:gd name="connsiteY0" fmla="*/ 0 h 4444288"/>
              <a:gd name="connsiteX1" fmla="*/ 2448618 w 2448618"/>
              <a:gd name="connsiteY1" fmla="*/ 0 h 4444288"/>
              <a:gd name="connsiteX2" fmla="*/ 2448618 w 2448618"/>
              <a:gd name="connsiteY2" fmla="*/ 4208698 h 4444288"/>
              <a:gd name="connsiteX3" fmla="*/ 0 w 2448618"/>
              <a:gd name="connsiteY3" fmla="*/ 4444288 h 4444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4444288">
                <a:moveTo>
                  <a:pt x="0" y="0"/>
                </a:moveTo>
                <a:lnTo>
                  <a:pt x="2448618" y="0"/>
                </a:lnTo>
                <a:lnTo>
                  <a:pt x="2448618" y="4208698"/>
                </a:lnTo>
                <a:lnTo>
                  <a:pt x="0" y="4444288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10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graphicFrame>
        <p:nvGraphicFramePr>
          <p:cNvPr id="16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46790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384" imgH="385" progId="TCLayout.ActiveDocument.1">
                  <p:embed/>
                </p:oleObj>
              </mc:Choice>
              <mc:Fallback>
                <p:oleObj name="think-cell Folie" r:id="rId11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0121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931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  <p15:guide id="11" pos="3749" userDrawn="1">
          <p15:clr>
            <a:srgbClr val="F26B43"/>
          </p15:clr>
        </p15:guide>
        <p15:guide id="12" pos="5654" userDrawn="1">
          <p15:clr>
            <a:srgbClr val="F26B43"/>
          </p15:clr>
        </p15:guide>
        <p15:guide id="13" pos="5473" userDrawn="1">
          <p15:clr>
            <a:srgbClr val="F26B43"/>
          </p15:clr>
        </p15:guide>
        <p15:guide id="14" pos="2207" userDrawn="1">
          <p15:clr>
            <a:srgbClr val="F26B43"/>
          </p15:clr>
        </p15:guide>
        <p15:guide id="15" pos="2026" userDrawn="1">
          <p15:clr>
            <a:srgbClr val="F26B43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mit 2 Texten und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3176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063C7026-C875-4E69-BA5F-F496B8D31A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Aft>
                <a:spcPts val="1200"/>
              </a:spcAft>
            </a:pPr>
            <a:endParaRPr lang="de-DE" sz="2000" b="0" i="0" kern="600" spc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144BAB1F-8DA3-4C74-9036-E918CD77BD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196976"/>
            <a:ext cx="5185238" cy="4372795"/>
          </a:xfrm>
          <a:custGeom>
            <a:avLst/>
            <a:gdLst>
              <a:gd name="connsiteX0" fmla="*/ 0 w 5185238"/>
              <a:gd name="connsiteY0" fmla="*/ 0 h 4372795"/>
              <a:gd name="connsiteX1" fmla="*/ 5185238 w 5185238"/>
              <a:gd name="connsiteY1" fmla="*/ 0 h 4372795"/>
              <a:gd name="connsiteX2" fmla="*/ 5185238 w 5185238"/>
              <a:gd name="connsiteY2" fmla="*/ 3873905 h 4372795"/>
              <a:gd name="connsiteX3" fmla="*/ 2431692 w 5185238"/>
              <a:gd name="connsiteY3" fmla="*/ 4138834 h 4372795"/>
              <a:gd name="connsiteX4" fmla="*/ 0 w 5185238"/>
              <a:gd name="connsiteY4" fmla="*/ 4372795 h 4372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85238" h="4372795">
                <a:moveTo>
                  <a:pt x="0" y="0"/>
                </a:moveTo>
                <a:lnTo>
                  <a:pt x="5185238" y="0"/>
                </a:lnTo>
                <a:lnTo>
                  <a:pt x="5185238" y="3873905"/>
                </a:lnTo>
                <a:lnTo>
                  <a:pt x="2431692" y="4138834"/>
                </a:lnTo>
                <a:lnTo>
                  <a:pt x="0" y="4372795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DB6ADC81-7D97-467A-B7E6-238D218159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000" y="1196975"/>
            <a:ext cx="5185236" cy="3846197"/>
          </a:xfrm>
          <a:custGeom>
            <a:avLst/>
            <a:gdLst>
              <a:gd name="connsiteX0" fmla="*/ 0 w 5185236"/>
              <a:gd name="connsiteY0" fmla="*/ 0 h 3846197"/>
              <a:gd name="connsiteX1" fmla="*/ 5185236 w 5185236"/>
              <a:gd name="connsiteY1" fmla="*/ 0 h 3846197"/>
              <a:gd name="connsiteX2" fmla="*/ 5185236 w 5185236"/>
              <a:gd name="connsiteY2" fmla="*/ 3347307 h 3846197"/>
              <a:gd name="connsiteX3" fmla="*/ 0 w 5185236"/>
              <a:gd name="connsiteY3" fmla="*/ 3846197 h 3846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5236" h="3846197">
                <a:moveTo>
                  <a:pt x="0" y="0"/>
                </a:moveTo>
                <a:lnTo>
                  <a:pt x="5185236" y="0"/>
                </a:lnTo>
                <a:lnTo>
                  <a:pt x="5185236" y="3347307"/>
                </a:lnTo>
                <a:lnTo>
                  <a:pt x="0" y="384619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10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26361" y="3558602"/>
            <a:ext cx="2069066" cy="1715020"/>
          </a:xfrm>
          <a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11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28201" y="4484284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8A9898-6DBB-4A1B-9BF7-F1646A33EEF4}"/>
              </a:ext>
            </a:extLst>
          </p:cNvPr>
          <p:cNvSpPr/>
          <p:nvPr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02D993-7EF4-4273-AFC6-CA85D55A1C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graphicFrame>
        <p:nvGraphicFramePr>
          <p:cNvPr id="16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50179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84" imgH="385" progId="TCLayout.ActiveDocument.1">
                  <p:embed/>
                </p:oleObj>
              </mc:Choice>
              <mc:Fallback>
                <p:oleObj name="think-cell Folie" r:id="rId12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 hidden="1">
            <a:extLst>
              <a:ext uri="{FF2B5EF4-FFF2-40B4-BE49-F238E27FC236}">
                <a16:creationId xmlns:a16="http://schemas.microsoft.com/office/drawing/2014/main" id="{063C7026-C875-4E69-BA5F-F496B8D31A7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Aft>
                <a:spcPts val="1200"/>
              </a:spcAft>
            </a:pPr>
            <a:endParaRPr lang="de-DE" sz="2000" b="0" i="0" kern="600" spc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1" name="Rectangle 17">
            <a:extLst>
              <a:ext uri="{FF2B5EF4-FFF2-40B4-BE49-F238E27FC236}">
                <a16:creationId xmlns:a16="http://schemas.microsoft.com/office/drawing/2014/main" id="{2C8A9898-6DBB-4A1B-9BF7-F1646A33EEF4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379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4" pos="3931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/ 2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99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6B70AA37-E0FC-4DDD-83BC-51CD76943BD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67663" y="1760434"/>
            <a:ext cx="4224337" cy="3187994"/>
          </a:xfrm>
          <a:custGeom>
            <a:avLst/>
            <a:gdLst>
              <a:gd name="connsiteX0" fmla="*/ 4224337 w 4224337"/>
              <a:gd name="connsiteY0" fmla="*/ 0 h 3187994"/>
              <a:gd name="connsiteX1" fmla="*/ 4224337 w 4224337"/>
              <a:gd name="connsiteY1" fmla="*/ 2779999 h 3187994"/>
              <a:gd name="connsiteX2" fmla="*/ 0 w 4224337"/>
              <a:gd name="connsiteY2" fmla="*/ 3187994 h 3187994"/>
              <a:gd name="connsiteX3" fmla="*/ 0 w 4224337"/>
              <a:gd name="connsiteY3" fmla="*/ 407995 h 3187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4337" h="3187994">
                <a:moveTo>
                  <a:pt x="4224337" y="0"/>
                </a:moveTo>
                <a:lnTo>
                  <a:pt x="4224337" y="2779999"/>
                </a:lnTo>
                <a:lnTo>
                  <a:pt x="0" y="3187994"/>
                </a:lnTo>
                <a:lnTo>
                  <a:pt x="0" y="40799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13FAB4FD-6DEF-43B5-849A-C9540A5EA47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67663" y="333693"/>
            <a:ext cx="4224337" cy="1556209"/>
          </a:xfrm>
          <a:custGeom>
            <a:avLst/>
            <a:gdLst>
              <a:gd name="connsiteX0" fmla="*/ 0 w 4224337"/>
              <a:gd name="connsiteY0" fmla="*/ 0 h 1556209"/>
              <a:gd name="connsiteX1" fmla="*/ 4224337 w 4224337"/>
              <a:gd name="connsiteY1" fmla="*/ 0 h 1556209"/>
              <a:gd name="connsiteX2" fmla="*/ 4224337 w 4224337"/>
              <a:gd name="connsiteY2" fmla="*/ 1148214 h 1556209"/>
              <a:gd name="connsiteX3" fmla="*/ 0 w 4224337"/>
              <a:gd name="connsiteY3" fmla="*/ 1556209 h 1556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4337" h="1556209">
                <a:moveTo>
                  <a:pt x="0" y="0"/>
                </a:moveTo>
                <a:lnTo>
                  <a:pt x="4224337" y="0"/>
                </a:lnTo>
                <a:lnTo>
                  <a:pt x="4224337" y="1148214"/>
                </a:lnTo>
                <a:lnTo>
                  <a:pt x="0" y="1556209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0E83E4A-9A3D-4624-A632-4365CC9008C6}"/>
              </a:ext>
            </a:extLst>
          </p:cNvPr>
          <p:cNvGrpSpPr/>
          <p:nvPr userDrawn="1"/>
        </p:nvGrpSpPr>
        <p:grpSpPr>
          <a:xfrm>
            <a:off x="-14320" y="4523949"/>
            <a:ext cx="12206319" cy="2084670"/>
            <a:chOff x="-14320" y="4773330"/>
            <a:chExt cx="12206319" cy="2084670"/>
          </a:xfrm>
          <a:solidFill>
            <a:schemeClr val="bg1"/>
          </a:solidFill>
        </p:grpSpPr>
        <p:sp>
          <p:nvSpPr>
            <p:cNvPr id="12" name="Freihandform: Form 36">
              <a:extLst>
                <a:ext uri="{FF2B5EF4-FFF2-40B4-BE49-F238E27FC236}">
                  <a16:creationId xmlns:a16="http://schemas.microsoft.com/office/drawing/2014/main" id="{0CCDEB08-509C-412A-B334-886FA8CA4A53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Freihandform: Form 36">
              <a:extLst>
                <a:ext uri="{FF2B5EF4-FFF2-40B4-BE49-F238E27FC236}">
                  <a16:creationId xmlns:a16="http://schemas.microsoft.com/office/drawing/2014/main" id="{5F6B9C06-4759-4BDD-8A87-6A0B93D8BF27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B158FD-BC8B-4BD7-B30C-33155EC07E27}"/>
              </a:ext>
            </a:extLst>
          </p:cNvPr>
          <p:cNvGrpSpPr/>
          <p:nvPr userDrawn="1"/>
        </p:nvGrpSpPr>
        <p:grpSpPr>
          <a:xfrm>
            <a:off x="-14320" y="4773330"/>
            <a:ext cx="12206319" cy="2084670"/>
            <a:chOff x="-14320" y="4773330"/>
            <a:chExt cx="12206319" cy="2084670"/>
          </a:xfrm>
          <a:solidFill>
            <a:schemeClr val="tx1"/>
          </a:solidFill>
        </p:grpSpPr>
        <p:sp>
          <p:nvSpPr>
            <p:cNvPr id="18" name="Freihandform: Form 36">
              <a:extLst>
                <a:ext uri="{FF2B5EF4-FFF2-40B4-BE49-F238E27FC236}">
                  <a16:creationId xmlns:a16="http://schemas.microsoft.com/office/drawing/2014/main" id="{276FF15F-79EA-48EF-AB19-8EF5B83AA268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9" name="Freihandform: Form 36">
              <a:extLst>
                <a:ext uri="{FF2B5EF4-FFF2-40B4-BE49-F238E27FC236}">
                  <a16:creationId xmlns:a16="http://schemas.microsoft.com/office/drawing/2014/main" id="{EE10ADC2-F397-424B-A593-F7D24FE8F642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0" name="Freeform 27">
            <a:extLst>
              <a:ext uri="{FF2B5EF4-FFF2-40B4-BE49-F238E27FC236}">
                <a16:creationId xmlns:a16="http://schemas.microsoft.com/office/drawing/2014/main" id="{F99D45B5-30C5-4D8C-AD9A-57761B90366A}"/>
              </a:ext>
            </a:extLst>
          </p:cNvPr>
          <p:cNvSpPr/>
          <p:nvPr userDrawn="1"/>
        </p:nvSpPr>
        <p:spPr>
          <a:xfrm>
            <a:off x="9950300" y="5187321"/>
            <a:ext cx="2014480" cy="1670373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ABC8BF24-69D2-4ED3-A927-999B8112752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5612" y="5849915"/>
            <a:ext cx="2676530" cy="448275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69500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8B7D36-4FC7-458A-91CB-590EC0375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333692"/>
            <a:ext cx="6950075" cy="680356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66707-4BCC-41E0-BEB4-0622C3F345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3033264"/>
            <a:ext cx="6842125" cy="369332"/>
          </a:xfrm>
        </p:spPr>
        <p:txBody>
          <a:bodyPr anchor="ctr">
            <a:spAutoFit/>
          </a:bodyPr>
          <a:lstStyle>
            <a:lvl1pPr marL="457200" indent="-457200">
              <a:buFont typeface="+mj-lt"/>
              <a:buAutoNum type="arabicPeriod"/>
              <a:defRPr sz="2400" baseline="0"/>
            </a:lvl1pPr>
            <a:lvl2pPr marL="358775" indent="0">
              <a:buFont typeface="+mj-lt"/>
              <a:buNone/>
              <a:defRPr sz="2400"/>
            </a:lvl2pPr>
            <a:lvl3pPr marL="457200" indent="-457200">
              <a:buFont typeface="+mj-lt"/>
              <a:buAutoNum type="arabicPeriod"/>
              <a:defRPr sz="2400"/>
            </a:lvl3pPr>
            <a:lvl4pPr marL="457200" indent="-457200">
              <a:buFont typeface="+mj-lt"/>
              <a:buAutoNum type="arabicPeriod"/>
              <a:defRPr sz="2400"/>
            </a:lvl4pPr>
            <a:lvl5pPr marL="457200" indent="-457200">
              <a:buFont typeface="+mj-lt"/>
              <a:buAutoNum type="arabicPeriod"/>
              <a:defRPr sz="24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4064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F26B43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mit 3 Texten und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021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8C537BA-F270-492E-9842-0197B8523B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Aft>
                <a:spcPts val="1200"/>
              </a:spcAft>
            </a:pPr>
            <a:endParaRPr lang="de-DE" sz="2000" b="0" i="0" kern="600" spc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8A9898-6DBB-4A1B-9BF7-F1646A33EEF4}"/>
              </a:ext>
            </a:extLst>
          </p:cNvPr>
          <p:cNvSpPr/>
          <p:nvPr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D6AB30F3-FA02-447B-B929-87AE828698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1196975"/>
            <a:ext cx="3349484" cy="4369437"/>
          </a:xfrm>
          <a:custGeom>
            <a:avLst/>
            <a:gdLst>
              <a:gd name="connsiteX0" fmla="*/ 0 w 3349484"/>
              <a:gd name="connsiteY0" fmla="*/ 0 h 4369437"/>
              <a:gd name="connsiteX1" fmla="*/ 3349484 w 3349484"/>
              <a:gd name="connsiteY1" fmla="*/ 0 h 4369437"/>
              <a:gd name="connsiteX2" fmla="*/ 3349484 w 3349484"/>
              <a:gd name="connsiteY2" fmla="*/ 4045937 h 4369437"/>
              <a:gd name="connsiteX3" fmla="*/ 0 w 3349484"/>
              <a:gd name="connsiteY3" fmla="*/ 4369437 h 4369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4" h="4369437">
                <a:moveTo>
                  <a:pt x="0" y="0"/>
                </a:moveTo>
                <a:lnTo>
                  <a:pt x="3349484" y="0"/>
                </a:lnTo>
                <a:lnTo>
                  <a:pt x="3349484" y="4045937"/>
                </a:lnTo>
                <a:lnTo>
                  <a:pt x="0" y="4369437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390BCA02-29C1-410D-99F8-06A6E3AC49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6" y="1196975"/>
            <a:ext cx="3384548" cy="4018172"/>
          </a:xfrm>
          <a:custGeom>
            <a:avLst/>
            <a:gdLst>
              <a:gd name="connsiteX0" fmla="*/ 0 w 3384548"/>
              <a:gd name="connsiteY0" fmla="*/ 0 h 4018172"/>
              <a:gd name="connsiteX1" fmla="*/ 3384548 w 3384548"/>
              <a:gd name="connsiteY1" fmla="*/ 0 h 4018172"/>
              <a:gd name="connsiteX2" fmla="*/ 3384548 w 3384548"/>
              <a:gd name="connsiteY2" fmla="*/ 3691286 h 4018172"/>
              <a:gd name="connsiteX3" fmla="*/ 0 w 3384548"/>
              <a:gd name="connsiteY3" fmla="*/ 4018172 h 4018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4548" h="4018172">
                <a:moveTo>
                  <a:pt x="0" y="0"/>
                </a:moveTo>
                <a:lnTo>
                  <a:pt x="3384548" y="0"/>
                </a:lnTo>
                <a:lnTo>
                  <a:pt x="3384548" y="3691286"/>
                </a:lnTo>
                <a:lnTo>
                  <a:pt x="0" y="401817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10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Text Placeholder 57">
            <a:extLst>
              <a:ext uri="{FF2B5EF4-FFF2-40B4-BE49-F238E27FC236}">
                <a16:creationId xmlns:a16="http://schemas.microsoft.com/office/drawing/2014/main" id="{B2BA0479-354B-4453-9BD9-3B75CA9E75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4501" y="3763964"/>
            <a:ext cx="2069066" cy="1715020"/>
          </a:xfrm>
          <a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11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21" name="Text Placeholder 61">
            <a:extLst>
              <a:ext uri="{FF2B5EF4-FFF2-40B4-BE49-F238E27FC236}">
                <a16:creationId xmlns:a16="http://schemas.microsoft.com/office/drawing/2014/main" id="{F1711DD1-B6B3-4336-9361-47CF878898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3063" y="4715053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F548BEAD-49B1-4AFC-9311-CB049C5F0EA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75751" y="1196975"/>
            <a:ext cx="3349487" cy="3663520"/>
          </a:xfrm>
          <a:custGeom>
            <a:avLst/>
            <a:gdLst>
              <a:gd name="connsiteX0" fmla="*/ 0 w 3349487"/>
              <a:gd name="connsiteY0" fmla="*/ 0 h 3663520"/>
              <a:gd name="connsiteX1" fmla="*/ 3349487 w 3349487"/>
              <a:gd name="connsiteY1" fmla="*/ 0 h 3663520"/>
              <a:gd name="connsiteX2" fmla="*/ 3349487 w 3349487"/>
              <a:gd name="connsiteY2" fmla="*/ 3340021 h 3663520"/>
              <a:gd name="connsiteX3" fmla="*/ 0 w 3349487"/>
              <a:gd name="connsiteY3" fmla="*/ 3663520 h 366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7" h="3663520">
                <a:moveTo>
                  <a:pt x="0" y="0"/>
                </a:moveTo>
                <a:lnTo>
                  <a:pt x="3349487" y="0"/>
                </a:lnTo>
                <a:lnTo>
                  <a:pt x="3349487" y="3340021"/>
                </a:lnTo>
                <a:lnTo>
                  <a:pt x="0" y="366352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12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4A26B-C22C-4086-8C39-33D2956F5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graphicFrame>
        <p:nvGraphicFramePr>
          <p:cNvPr id="16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30854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84" imgH="385" progId="TCLayout.ActiveDocument.1">
                  <p:embed/>
                </p:oleObj>
              </mc:Choice>
              <mc:Fallback>
                <p:oleObj name="think-cell Folie" r:id="rId13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 hidden="1">
            <a:extLst>
              <a:ext uri="{FF2B5EF4-FFF2-40B4-BE49-F238E27FC236}">
                <a16:creationId xmlns:a16="http://schemas.microsoft.com/office/drawing/2014/main" id="{38C537BA-F270-492E-9842-0197B8523BD5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Aft>
                <a:spcPts val="1200"/>
              </a:spcAft>
            </a:pPr>
            <a:endParaRPr lang="de-DE" sz="2000" b="0" i="0" kern="600" spc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3" name="Rectangle 17">
            <a:extLst>
              <a:ext uri="{FF2B5EF4-FFF2-40B4-BE49-F238E27FC236}">
                <a16:creationId xmlns:a16="http://schemas.microsoft.com/office/drawing/2014/main" id="{2C8A9898-6DBB-4A1B-9BF7-F1646A33EEF4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0629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4" pos="3931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mit 4 Texten und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4120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843A7F5-0182-4E82-AFB1-CC53CC8C17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Aft>
                <a:spcPts val="1200"/>
              </a:spcAft>
            </a:pPr>
            <a:endParaRPr lang="de-DE" sz="2000" b="0" i="0" kern="600" spc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8A9898-6DBB-4A1B-9BF7-F1646A33EEF4}"/>
              </a:ext>
            </a:extLst>
          </p:cNvPr>
          <p:cNvSpPr/>
          <p:nvPr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660C2763-BC88-455C-AAAD-7B895AF9C3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1196975"/>
            <a:ext cx="2448618" cy="4372796"/>
          </a:xfrm>
          <a:custGeom>
            <a:avLst/>
            <a:gdLst>
              <a:gd name="connsiteX0" fmla="*/ 0 w 2448618"/>
              <a:gd name="connsiteY0" fmla="*/ 0 h 4372796"/>
              <a:gd name="connsiteX1" fmla="*/ 2448618 w 2448618"/>
              <a:gd name="connsiteY1" fmla="*/ 0 h 4372796"/>
              <a:gd name="connsiteX2" fmla="*/ 2448618 w 2448618"/>
              <a:gd name="connsiteY2" fmla="*/ 4137206 h 4372796"/>
              <a:gd name="connsiteX3" fmla="*/ 0 w 2448618"/>
              <a:gd name="connsiteY3" fmla="*/ 4372796 h 437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4372796">
                <a:moveTo>
                  <a:pt x="0" y="0"/>
                </a:moveTo>
                <a:lnTo>
                  <a:pt x="2448618" y="0"/>
                </a:lnTo>
                <a:lnTo>
                  <a:pt x="2448618" y="4137206"/>
                </a:lnTo>
                <a:lnTo>
                  <a:pt x="0" y="4372796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180000" tIns="360000" rIns="18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A9140D73-F6BF-406C-9D0F-2CFB8641E1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03381" y="1196975"/>
            <a:ext cx="2448620" cy="4109497"/>
          </a:xfrm>
          <a:custGeom>
            <a:avLst/>
            <a:gdLst>
              <a:gd name="connsiteX0" fmla="*/ 0 w 2448620"/>
              <a:gd name="connsiteY0" fmla="*/ 0 h 4109497"/>
              <a:gd name="connsiteX1" fmla="*/ 2448620 w 2448620"/>
              <a:gd name="connsiteY1" fmla="*/ 0 h 4109497"/>
              <a:gd name="connsiteX2" fmla="*/ 2448620 w 2448620"/>
              <a:gd name="connsiteY2" fmla="*/ 3873906 h 4109497"/>
              <a:gd name="connsiteX3" fmla="*/ 0 w 2448620"/>
              <a:gd name="connsiteY3" fmla="*/ 4109497 h 4109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20" h="4109497">
                <a:moveTo>
                  <a:pt x="0" y="0"/>
                </a:moveTo>
                <a:lnTo>
                  <a:pt x="2448620" y="0"/>
                </a:lnTo>
                <a:lnTo>
                  <a:pt x="2448620" y="3873906"/>
                </a:lnTo>
                <a:lnTo>
                  <a:pt x="0" y="410949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10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Text Placeholder 57">
            <a:extLst>
              <a:ext uri="{FF2B5EF4-FFF2-40B4-BE49-F238E27FC236}">
                <a16:creationId xmlns:a16="http://schemas.microsoft.com/office/drawing/2014/main" id="{586CA799-B057-44C7-99C4-6F70BBC17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6540" y="3833610"/>
            <a:ext cx="2069066" cy="1715020"/>
          </a:xfrm>
          <a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11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21" name="Text Placeholder 61">
            <a:extLst>
              <a:ext uri="{FF2B5EF4-FFF2-40B4-BE49-F238E27FC236}">
                <a16:creationId xmlns:a16="http://schemas.microsoft.com/office/drawing/2014/main" id="{E262FA7D-EE7C-450D-8F09-CC7E101E4B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91582" y="4745837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C5F7EFC0-BF14-455E-A781-C964300B7AF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0000" y="1196975"/>
            <a:ext cx="2448618" cy="3846197"/>
          </a:xfrm>
          <a:custGeom>
            <a:avLst/>
            <a:gdLst>
              <a:gd name="connsiteX0" fmla="*/ 0 w 2448618"/>
              <a:gd name="connsiteY0" fmla="*/ 0 h 3846197"/>
              <a:gd name="connsiteX1" fmla="*/ 2448618 w 2448618"/>
              <a:gd name="connsiteY1" fmla="*/ 0 h 3846197"/>
              <a:gd name="connsiteX2" fmla="*/ 2448618 w 2448618"/>
              <a:gd name="connsiteY2" fmla="*/ 3610607 h 3846197"/>
              <a:gd name="connsiteX3" fmla="*/ 0 w 2448618"/>
              <a:gd name="connsiteY3" fmla="*/ 3846197 h 3846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3846197">
                <a:moveTo>
                  <a:pt x="0" y="0"/>
                </a:moveTo>
                <a:lnTo>
                  <a:pt x="2448618" y="0"/>
                </a:lnTo>
                <a:lnTo>
                  <a:pt x="2448618" y="3610607"/>
                </a:lnTo>
                <a:lnTo>
                  <a:pt x="0" y="384619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12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BA3D35E0-AEA6-4F9B-BC48-9FA4EB495B4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976618" y="1196975"/>
            <a:ext cx="2448618" cy="3582896"/>
          </a:xfrm>
          <a:custGeom>
            <a:avLst/>
            <a:gdLst>
              <a:gd name="connsiteX0" fmla="*/ 0 w 2448618"/>
              <a:gd name="connsiteY0" fmla="*/ 0 h 3582896"/>
              <a:gd name="connsiteX1" fmla="*/ 2448618 w 2448618"/>
              <a:gd name="connsiteY1" fmla="*/ 0 h 3582896"/>
              <a:gd name="connsiteX2" fmla="*/ 2448618 w 2448618"/>
              <a:gd name="connsiteY2" fmla="*/ 3347306 h 3582896"/>
              <a:gd name="connsiteX3" fmla="*/ 0 w 2448618"/>
              <a:gd name="connsiteY3" fmla="*/ 3582896 h 3582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3582896">
                <a:moveTo>
                  <a:pt x="0" y="0"/>
                </a:moveTo>
                <a:lnTo>
                  <a:pt x="2448618" y="0"/>
                </a:lnTo>
                <a:lnTo>
                  <a:pt x="2448618" y="3347306"/>
                </a:lnTo>
                <a:lnTo>
                  <a:pt x="0" y="3582896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12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665825-B006-4439-895F-85E2862B5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graphicFrame>
        <p:nvGraphicFramePr>
          <p:cNvPr id="17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98979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84" imgH="385" progId="TCLayout.ActiveDocument.1">
                  <p:embed/>
                </p:oleObj>
              </mc:Choice>
              <mc:Fallback>
                <p:oleObj name="think-cell Folie" r:id="rId13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hteck 18" hidden="1">
            <a:extLst>
              <a:ext uri="{FF2B5EF4-FFF2-40B4-BE49-F238E27FC236}">
                <a16:creationId xmlns:a16="http://schemas.microsoft.com/office/drawing/2014/main" id="{5843A7F5-0182-4E82-AFB1-CC53CC8C1792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Aft>
                <a:spcPts val="1200"/>
              </a:spcAft>
            </a:pPr>
            <a:endParaRPr lang="de-DE" sz="2000" b="0" i="0" kern="600" spc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4" name="Rectangle 17">
            <a:extLst>
              <a:ext uri="{FF2B5EF4-FFF2-40B4-BE49-F238E27FC236}">
                <a16:creationId xmlns:a16="http://schemas.microsoft.com/office/drawing/2014/main" id="{2C8A9898-6DBB-4A1B-9BF7-F1646A33EEF4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892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4" pos="3931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EIß // Titel mit 4 Texten und Bil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8754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25D8821-8842-4553-8668-637C54FDB7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1016000"/>
            <a:ext cx="3384550" cy="4133637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21CE8BDA-8958-48E7-8115-79B458038B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226C4E4-A2B3-4F91-ACF4-1386A1141A75}"/>
              </a:ext>
            </a:extLst>
          </p:cNvPr>
          <p:cNvGrpSpPr/>
          <p:nvPr/>
        </p:nvGrpSpPr>
        <p:grpSpPr>
          <a:xfrm>
            <a:off x="0" y="1009784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0" name="Freeform 1">
              <a:extLst>
                <a:ext uri="{FF2B5EF4-FFF2-40B4-BE49-F238E27FC236}">
                  <a16:creationId xmlns:a16="http://schemas.microsoft.com/office/drawing/2014/main" id="{85B15F81-C7C5-4BF1-8B09-16557ED89E46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B52C9D7B-3DEC-4F20-A960-0AB2B7912A0C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9A017E0-97E1-40BF-A118-EF8F27D51FAB}"/>
              </a:ext>
            </a:extLst>
          </p:cNvPr>
          <p:cNvGrpSpPr/>
          <p:nvPr/>
        </p:nvGrpSpPr>
        <p:grpSpPr>
          <a:xfrm>
            <a:off x="0" y="3281931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42A5AD33-28B5-4788-AB7B-7039FE3889C2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B2621DED-4F6C-4FC0-80E4-5B670F3B1177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2EEF72E3-984A-4E1D-B3E5-A8C8F728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016000"/>
            <a:ext cx="3335770" cy="3655357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175DEA8E-1BB4-4543-A778-82112E437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2768" y="1481408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E6C97D9E-74F8-4B39-BB82-1BCFEB4908C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2768" y="3760730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9" name="Text Placeholder 61">
            <a:extLst>
              <a:ext uri="{FF2B5EF4-FFF2-40B4-BE49-F238E27FC236}">
                <a16:creationId xmlns:a16="http://schemas.microsoft.com/office/drawing/2014/main" id="{7E867A1C-F2D3-4594-962F-3D4EDD6E5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4262" y="2738352"/>
            <a:ext cx="1105200" cy="11052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graphicFrame>
        <p:nvGraphicFramePr>
          <p:cNvPr id="22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298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4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5" y="-1"/>
            <a:ext cx="12191998" cy="2276542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grpSp>
        <p:nvGrpSpPr>
          <p:cNvPr id="25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26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0877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1071" userDrawn="1">
          <p15:clr>
            <a:srgbClr val="F26B43"/>
          </p15:clr>
        </p15:guide>
        <p15:guide id="12" orient="horz" pos="731" userDrawn="1">
          <p15:clr>
            <a:srgbClr val="FFFFFF"/>
          </p15:clr>
        </p15:guide>
        <p15:guide id="13" orient="horz" pos="210" userDrawn="1">
          <p15:clr>
            <a:srgbClr val="A4A3A4"/>
          </p15:clr>
        </p15:guide>
        <p15:guide id="14" pos="2774" userDrawn="1">
          <p15:clr>
            <a:srgbClr val="F26B43"/>
          </p15:clr>
        </p15:guide>
        <p15:guide id="15" pos="2389" userDrawn="1">
          <p15:clr>
            <a:srgbClr val="F26B43"/>
          </p15:clr>
        </p15:guide>
        <p15:guide id="16" pos="279" userDrawn="1">
          <p15:clr>
            <a:srgbClr val="F26B43"/>
          </p15:clr>
        </p15:guide>
        <p15:guide id="17" pos="4906" userDrawn="1">
          <p15:clr>
            <a:srgbClr val="F26B43"/>
          </p15:clr>
        </p15:guide>
        <p15:guide id="18" pos="5087" userDrawn="1">
          <p15:clr>
            <a:srgbClr val="F26B43"/>
          </p15:clr>
        </p15:guide>
        <p15:guide id="19" orient="horz" pos="1185" userDrawn="1">
          <p15:clr>
            <a:srgbClr val="F26B43"/>
          </p15:clr>
        </p15:guide>
        <p15:guide id="20" pos="483" userDrawn="1">
          <p15:clr>
            <a:srgbClr val="A4A3A4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WARZ // Titel mit 4 Texten und Bilplatzhalter (unten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5428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825F47CB-5D49-4D48-90E7-17EFE25C6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25D8821-8842-4553-8668-637C54FDB7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1038360"/>
            <a:ext cx="3384550" cy="4139853"/>
          </a:xfrm>
        </p:spPr>
        <p:txBody>
          <a:bodyPr/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226C4E4-A2B3-4F91-ACF4-1386A1141A75}"/>
              </a:ext>
            </a:extLst>
          </p:cNvPr>
          <p:cNvGrpSpPr/>
          <p:nvPr/>
        </p:nvGrpSpPr>
        <p:grpSpPr>
          <a:xfrm>
            <a:off x="0" y="1009784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0" name="Freeform 1">
              <a:extLst>
                <a:ext uri="{FF2B5EF4-FFF2-40B4-BE49-F238E27FC236}">
                  <a16:creationId xmlns:a16="http://schemas.microsoft.com/office/drawing/2014/main" id="{85B15F81-C7C5-4BF1-8B09-16557ED89E46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B52C9D7B-3DEC-4F20-A960-0AB2B7912A0C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9A017E0-97E1-40BF-A118-EF8F27D51FAB}"/>
              </a:ext>
            </a:extLst>
          </p:cNvPr>
          <p:cNvGrpSpPr/>
          <p:nvPr/>
        </p:nvGrpSpPr>
        <p:grpSpPr>
          <a:xfrm>
            <a:off x="0" y="3281931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42A5AD33-28B5-4788-AB7B-7039FE3889C2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B2621DED-4F6C-4FC0-80E4-5B670F3B1177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2EEF72E3-984A-4E1D-B3E5-A8C8F728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038360"/>
            <a:ext cx="3335770" cy="3660853"/>
          </a:xfrm>
        </p:spPr>
        <p:txBody>
          <a:bodyPr/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175DEA8E-1BB4-4543-A778-82112E437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2768" y="1481408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E6C97D9E-74F8-4B39-BB82-1BCFEB4908C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2768" y="3760730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9" name="Text Placeholder 61">
            <a:extLst>
              <a:ext uri="{FF2B5EF4-FFF2-40B4-BE49-F238E27FC236}">
                <a16:creationId xmlns:a16="http://schemas.microsoft.com/office/drawing/2014/main" id="{7E867A1C-F2D3-4594-962F-3D4EDD6E5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4262" y="2738352"/>
            <a:ext cx="1105200" cy="11052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25" name="Freihandform: Form 27">
            <a:extLst>
              <a:ext uri="{FF2B5EF4-FFF2-40B4-BE49-F238E27FC236}">
                <a16:creationId xmlns:a16="http://schemas.microsoft.com/office/drawing/2014/main" id="{33F3E23B-8741-48BD-93C7-936EFB1280EA}"/>
              </a:ext>
            </a:extLst>
          </p:cNvPr>
          <p:cNvSpPr/>
          <p:nvPr/>
        </p:nvSpPr>
        <p:spPr>
          <a:xfrm rot="10800000">
            <a:off x="-2" y="0"/>
            <a:ext cx="3976603" cy="400345"/>
          </a:xfrm>
          <a:custGeom>
            <a:avLst/>
            <a:gdLst>
              <a:gd name="connsiteX0" fmla="*/ 3976603 w 3976603"/>
              <a:gd name="connsiteY0" fmla="*/ 400345 h 400345"/>
              <a:gd name="connsiteX1" fmla="*/ 0 w 3976603"/>
              <a:gd name="connsiteY1" fmla="*/ 400345 h 400345"/>
              <a:gd name="connsiteX2" fmla="*/ 3976603 w 3976603"/>
              <a:gd name="connsiteY2" fmla="*/ 0 h 400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76603" h="400345">
                <a:moveTo>
                  <a:pt x="3976603" y="400345"/>
                </a:moveTo>
                <a:lnTo>
                  <a:pt x="0" y="400345"/>
                </a:lnTo>
                <a:lnTo>
                  <a:pt x="3976603" y="0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graphicFrame>
        <p:nvGraphicFramePr>
          <p:cNvPr id="23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78851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grpSp>
        <p:nvGrpSpPr>
          <p:cNvPr id="31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32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4" name="Freihandform: Form 27">
            <a:extLst>
              <a:ext uri="{FF2B5EF4-FFF2-40B4-BE49-F238E27FC236}">
                <a16:creationId xmlns:a16="http://schemas.microsoft.com/office/drawing/2014/main" id="{33F3E23B-8741-48BD-93C7-936EFB1280EA}"/>
              </a:ext>
            </a:extLst>
          </p:cNvPr>
          <p:cNvSpPr/>
          <p:nvPr userDrawn="1"/>
        </p:nvSpPr>
        <p:spPr>
          <a:xfrm rot="10800000">
            <a:off x="-2" y="0"/>
            <a:ext cx="3976603" cy="400345"/>
          </a:xfrm>
          <a:custGeom>
            <a:avLst/>
            <a:gdLst>
              <a:gd name="connsiteX0" fmla="*/ 3976603 w 3976603"/>
              <a:gd name="connsiteY0" fmla="*/ 400345 h 400345"/>
              <a:gd name="connsiteX1" fmla="*/ 0 w 3976603"/>
              <a:gd name="connsiteY1" fmla="*/ 400345 h 400345"/>
              <a:gd name="connsiteX2" fmla="*/ 3976603 w 3976603"/>
              <a:gd name="connsiteY2" fmla="*/ 0 h 400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76603" h="400345">
                <a:moveTo>
                  <a:pt x="3976603" y="400345"/>
                </a:moveTo>
                <a:lnTo>
                  <a:pt x="0" y="400345"/>
                </a:lnTo>
                <a:lnTo>
                  <a:pt x="3976603" y="0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537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2774" userDrawn="1">
          <p15:clr>
            <a:srgbClr val="F26B43"/>
          </p15:clr>
        </p15:guide>
        <p15:guide id="13" pos="4906" userDrawn="1">
          <p15:clr>
            <a:srgbClr val="F26B43"/>
          </p15:clr>
        </p15:guide>
        <p15:guide id="14" pos="5087" userDrawn="1">
          <p15:clr>
            <a:srgbClr val="F26B43"/>
          </p15:clr>
        </p15:guide>
        <p15:guide id="15" pos="2366" userDrawn="1">
          <p15:clr>
            <a:srgbClr val="F26B43"/>
          </p15:clr>
        </p15:guide>
        <p15:guide id="16" pos="279" userDrawn="1">
          <p15:clr>
            <a:srgbClr val="F26B43"/>
          </p15:clr>
        </p15:guide>
        <p15:guide id="17" pos="483" userDrawn="1">
          <p15:clr>
            <a:srgbClr val="A4A3A4"/>
          </p15:clr>
        </p15:guide>
        <p15:guide id="18" orient="horz" pos="754" userDrawn="1">
          <p15:clr>
            <a:srgbClr val="A4A3A4"/>
          </p15:clr>
        </p15:guide>
        <p15:guide id="19" orient="horz" pos="210" userDrawn="1">
          <p15:clr>
            <a:srgbClr val="A4A3A4"/>
          </p15:clr>
        </p15:guide>
        <p15:guide id="20" orient="horz" pos="1071" userDrawn="1">
          <p15:clr>
            <a:srgbClr val="F26B43"/>
          </p15:clr>
        </p15:guide>
        <p15:guide id="21" orient="horz" pos="1185" userDrawn="1">
          <p15:clr>
            <a:srgbClr val="F26B43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EIß // Titel mit Text und Bildplatzhalter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B210DD08-1A6C-D749-AE2F-8AD16051E71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297397"/>
            <a:ext cx="7788277" cy="5396530"/>
          </a:xfrm>
          <a:custGeom>
            <a:avLst/>
            <a:gdLst>
              <a:gd name="connsiteX0" fmla="*/ 7788277 w 7788277"/>
              <a:gd name="connsiteY0" fmla="*/ 0 h 5396530"/>
              <a:gd name="connsiteX1" fmla="*/ 7788277 w 7788277"/>
              <a:gd name="connsiteY1" fmla="*/ 35829 h 5396530"/>
              <a:gd name="connsiteX2" fmla="*/ 7788277 w 7788277"/>
              <a:gd name="connsiteY2" fmla="*/ 4609377 h 5396530"/>
              <a:gd name="connsiteX3" fmla="*/ 7788277 w 7788277"/>
              <a:gd name="connsiteY3" fmla="*/ 4645206 h 5396530"/>
              <a:gd name="connsiteX4" fmla="*/ 0 w 7788277"/>
              <a:gd name="connsiteY4" fmla="*/ 5396530 h 5396530"/>
              <a:gd name="connsiteX5" fmla="*/ 0 w 7788277"/>
              <a:gd name="connsiteY5" fmla="*/ 5360701 h 5396530"/>
              <a:gd name="connsiteX6" fmla="*/ 0 w 7788277"/>
              <a:gd name="connsiteY6" fmla="*/ 819915 h 5396530"/>
              <a:gd name="connsiteX7" fmla="*/ 0 w 7788277"/>
              <a:gd name="connsiteY7" fmla="*/ 784086 h 5396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88277" h="5396530">
                <a:moveTo>
                  <a:pt x="7788277" y="0"/>
                </a:moveTo>
                <a:lnTo>
                  <a:pt x="7788277" y="35829"/>
                </a:lnTo>
                <a:lnTo>
                  <a:pt x="7788277" y="4609377"/>
                </a:lnTo>
                <a:lnTo>
                  <a:pt x="7788277" y="4645206"/>
                </a:lnTo>
                <a:lnTo>
                  <a:pt x="0" y="5396530"/>
                </a:lnTo>
                <a:lnTo>
                  <a:pt x="0" y="5360701"/>
                </a:lnTo>
                <a:lnTo>
                  <a:pt x="0" y="819915"/>
                </a:lnTo>
                <a:lnTo>
                  <a:pt x="0" y="7840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6925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Freeform 6">
            <a:extLst>
              <a:ext uri="{FF2B5EF4-FFF2-40B4-BE49-F238E27FC236}">
                <a16:creationId xmlns:a16="http://schemas.microsoft.com/office/drawing/2014/main" id="{67FF8414-8E5A-459A-9165-71FF071DA875}"/>
              </a:ext>
            </a:extLst>
          </p:cNvPr>
          <p:cNvSpPr/>
          <p:nvPr/>
        </p:nvSpPr>
        <p:spPr>
          <a:xfrm>
            <a:off x="-14320" y="4773329"/>
            <a:ext cx="12206319" cy="2084670"/>
          </a:xfrm>
          <a:custGeom>
            <a:avLst/>
            <a:gdLst>
              <a:gd name="connsiteX0" fmla="*/ 12206319 w 12206319"/>
              <a:gd name="connsiteY0" fmla="*/ 0 h 2084670"/>
              <a:gd name="connsiteX1" fmla="*/ 12206319 w 12206319"/>
              <a:gd name="connsiteY1" fmla="*/ 581488 h 2084670"/>
              <a:gd name="connsiteX2" fmla="*/ 12206319 w 12206319"/>
              <a:gd name="connsiteY2" fmla="*/ 1177527 h 2084670"/>
              <a:gd name="connsiteX3" fmla="*/ 12206319 w 12206319"/>
              <a:gd name="connsiteY3" fmla="*/ 2084670 h 2084670"/>
              <a:gd name="connsiteX4" fmla="*/ 0 w 12206319"/>
              <a:gd name="connsiteY4" fmla="*/ 2084670 h 2084670"/>
              <a:gd name="connsiteX5" fmla="*/ 0 w 12206319"/>
              <a:gd name="connsiteY5" fmla="*/ 1177527 h 2084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06319" h="2084670">
                <a:moveTo>
                  <a:pt x="12206319" y="0"/>
                </a:moveTo>
                <a:lnTo>
                  <a:pt x="12206319" y="581488"/>
                </a:lnTo>
                <a:lnTo>
                  <a:pt x="12206319" y="1177527"/>
                </a:lnTo>
                <a:lnTo>
                  <a:pt x="12206319" y="2084670"/>
                </a:lnTo>
                <a:lnTo>
                  <a:pt x="0" y="2084670"/>
                </a:lnTo>
                <a:lnTo>
                  <a:pt x="0" y="1177527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8" name="Freeform 75">
            <a:extLst>
              <a:ext uri="{FF2B5EF4-FFF2-40B4-BE49-F238E27FC236}">
                <a16:creationId xmlns:a16="http://schemas.microsoft.com/office/drawing/2014/main" id="{2CFF6931-BFFB-4A62-B2EA-3CB764125AD2}"/>
              </a:ext>
            </a:extLst>
          </p:cNvPr>
          <p:cNvSpPr/>
          <p:nvPr/>
        </p:nvSpPr>
        <p:spPr>
          <a:xfrm>
            <a:off x="8922326" y="5213506"/>
            <a:ext cx="2284395" cy="1894178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D9E003">
              <a:alpha val="2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9" name="Text Placeholder 61">
            <a:extLst>
              <a:ext uri="{FF2B5EF4-FFF2-40B4-BE49-F238E27FC236}">
                <a16:creationId xmlns:a16="http://schemas.microsoft.com/office/drawing/2014/main" id="{7E867A1C-F2D3-4594-962F-3D4EDD6E5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7083" y="4447708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29" name="Text Placeholder 34">
            <a:extLst>
              <a:ext uri="{FF2B5EF4-FFF2-40B4-BE49-F238E27FC236}">
                <a16:creationId xmlns:a16="http://schemas.microsoft.com/office/drawing/2014/main" id="{20E344C6-0D9D-48BE-A8DB-BA19B21C3A4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016000"/>
            <a:ext cx="3335770" cy="3757329"/>
          </a:xfrm>
        </p:spPr>
        <p:txBody>
          <a:bodyPr/>
          <a:lstStyle>
            <a:lvl1pPr marL="0" indent="0">
              <a:buNone/>
              <a:defRPr b="1" spc="0">
                <a:solidFill>
                  <a:schemeClr val="tx1"/>
                </a:solidFill>
              </a:defRPr>
            </a:lvl1pPr>
            <a:lvl2pPr marL="0" indent="0">
              <a:buNone/>
              <a:defRPr spc="0">
                <a:solidFill>
                  <a:schemeClr val="tx1"/>
                </a:solidFill>
              </a:defRPr>
            </a:lvl2pPr>
            <a:lvl3pPr>
              <a:buClr>
                <a:schemeClr val="tx2"/>
              </a:buClr>
              <a:buSzPct val="100000"/>
              <a:buFont typeface="Arial" panose="020B0604020202020204" pitchFamily="34" charset="0"/>
              <a:buChar char="&gt;"/>
              <a:defRPr spc="0">
                <a:solidFill>
                  <a:schemeClr val="tx1"/>
                </a:solidFill>
              </a:defRPr>
            </a:lvl3pPr>
            <a:lvl4pPr marL="715963" indent="-357188"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&gt;"/>
              <a:defRPr spc="0">
                <a:solidFill>
                  <a:schemeClr val="tx1"/>
                </a:solidFill>
              </a:defRPr>
            </a:lvl4pPr>
            <a:lvl5pPr marL="360363" indent="-360363">
              <a:buSzPct val="130000"/>
              <a:buFontTx/>
              <a:buBlip>
                <a:blip r:embed="rId8"/>
              </a:buBlip>
              <a:defRPr b="0" spc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graphicFrame>
        <p:nvGraphicFramePr>
          <p:cNvPr id="18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99267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84" imgH="385" progId="TCLayout.ActiveDocument.1">
                  <p:embed/>
                </p:oleObj>
              </mc:Choice>
              <mc:Fallback>
                <p:oleObj name="think-cell Folie" r:id="rId9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Freeform 6">
            <a:extLst>
              <a:ext uri="{FF2B5EF4-FFF2-40B4-BE49-F238E27FC236}">
                <a16:creationId xmlns:a16="http://schemas.microsoft.com/office/drawing/2014/main" id="{67FF8414-8E5A-459A-9165-71FF071DA875}"/>
              </a:ext>
            </a:extLst>
          </p:cNvPr>
          <p:cNvSpPr/>
          <p:nvPr userDrawn="1"/>
        </p:nvSpPr>
        <p:spPr>
          <a:xfrm>
            <a:off x="-14320" y="4773329"/>
            <a:ext cx="12206319" cy="2084670"/>
          </a:xfrm>
          <a:custGeom>
            <a:avLst/>
            <a:gdLst>
              <a:gd name="connsiteX0" fmla="*/ 12206319 w 12206319"/>
              <a:gd name="connsiteY0" fmla="*/ 0 h 2084670"/>
              <a:gd name="connsiteX1" fmla="*/ 12206319 w 12206319"/>
              <a:gd name="connsiteY1" fmla="*/ 581488 h 2084670"/>
              <a:gd name="connsiteX2" fmla="*/ 12206319 w 12206319"/>
              <a:gd name="connsiteY2" fmla="*/ 1177527 h 2084670"/>
              <a:gd name="connsiteX3" fmla="*/ 12206319 w 12206319"/>
              <a:gd name="connsiteY3" fmla="*/ 2084670 h 2084670"/>
              <a:gd name="connsiteX4" fmla="*/ 0 w 12206319"/>
              <a:gd name="connsiteY4" fmla="*/ 2084670 h 2084670"/>
              <a:gd name="connsiteX5" fmla="*/ 0 w 12206319"/>
              <a:gd name="connsiteY5" fmla="*/ 1177527 h 2084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06319" h="2084670">
                <a:moveTo>
                  <a:pt x="12206319" y="0"/>
                </a:moveTo>
                <a:lnTo>
                  <a:pt x="12206319" y="581488"/>
                </a:lnTo>
                <a:lnTo>
                  <a:pt x="12206319" y="1177527"/>
                </a:lnTo>
                <a:lnTo>
                  <a:pt x="12206319" y="2084670"/>
                </a:lnTo>
                <a:lnTo>
                  <a:pt x="0" y="2084670"/>
                </a:lnTo>
                <a:lnTo>
                  <a:pt x="0" y="1177527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1" name="Freeform 75">
            <a:extLst>
              <a:ext uri="{FF2B5EF4-FFF2-40B4-BE49-F238E27FC236}">
                <a16:creationId xmlns:a16="http://schemas.microsoft.com/office/drawing/2014/main" id="{2CFF6931-BFFB-4A62-B2EA-3CB764125AD2}"/>
              </a:ext>
            </a:extLst>
          </p:cNvPr>
          <p:cNvSpPr/>
          <p:nvPr userDrawn="1"/>
        </p:nvSpPr>
        <p:spPr>
          <a:xfrm>
            <a:off x="8922326" y="5213506"/>
            <a:ext cx="2284395" cy="1894178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D9E003">
              <a:alpha val="2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22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grpSp>
        <p:nvGrpSpPr>
          <p:cNvPr id="23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24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67763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87" userDrawn="1">
          <p15:clr>
            <a:srgbClr val="F26B43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oßer Bilplatzhalt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2115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ihandform: Form 27">
            <a:extLst>
              <a:ext uri="{FF2B5EF4-FFF2-40B4-BE49-F238E27FC236}">
                <a16:creationId xmlns:a16="http://schemas.microsoft.com/office/drawing/2014/main" id="{95D94426-CD31-4CB6-9F92-417C86DD83E5}"/>
              </a:ext>
            </a:extLst>
          </p:cNvPr>
          <p:cNvSpPr/>
          <p:nvPr/>
        </p:nvSpPr>
        <p:spPr>
          <a:xfrm rot="10800000" flipH="1" flipV="1">
            <a:off x="1449685" y="5776515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756F5AB8-9436-4ACC-9DE2-DE3EA98CC9A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742305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223370 h 6858000"/>
              <a:gd name="connsiteX3" fmla="*/ 5621103 w 12192000"/>
              <a:gd name="connsiteY3" fmla="*/ 6858000 h 6858000"/>
              <a:gd name="connsiteX4" fmla="*/ 0 w 12192000"/>
              <a:gd name="connsiteY4" fmla="*/ 6858000 h 6858000"/>
              <a:gd name="connsiteX5" fmla="*/ 0 w 12192000"/>
              <a:gd name="connsiteY5" fmla="*/ 10814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0742305" y="0"/>
                </a:moveTo>
                <a:lnTo>
                  <a:pt x="12192000" y="0"/>
                </a:lnTo>
                <a:lnTo>
                  <a:pt x="12192000" y="6223370"/>
                </a:lnTo>
                <a:lnTo>
                  <a:pt x="5621103" y="6858000"/>
                </a:lnTo>
                <a:lnTo>
                  <a:pt x="0" y="6858000"/>
                </a:lnTo>
                <a:lnTo>
                  <a:pt x="0" y="108148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23AD241-DF8E-4051-8B5A-E0AA069385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2331641"/>
            <a:ext cx="5127438" cy="4526359"/>
          </a:xfrm>
          <a:custGeom>
            <a:avLst/>
            <a:gdLst>
              <a:gd name="connsiteX0" fmla="*/ 5100034 w 5127438"/>
              <a:gd name="connsiteY0" fmla="*/ 0 h 4526359"/>
              <a:gd name="connsiteX1" fmla="*/ 5127438 w 5127438"/>
              <a:gd name="connsiteY1" fmla="*/ 0 h 4526359"/>
              <a:gd name="connsiteX2" fmla="*/ 5127438 w 5127438"/>
              <a:gd name="connsiteY2" fmla="*/ 4211781 h 4526359"/>
              <a:gd name="connsiteX3" fmla="*/ 2002757 w 5127438"/>
              <a:gd name="connsiteY3" fmla="*/ 4526359 h 4526359"/>
              <a:gd name="connsiteX4" fmla="*/ 0 w 5127438"/>
              <a:gd name="connsiteY4" fmla="*/ 4526359 h 4526359"/>
              <a:gd name="connsiteX5" fmla="*/ 0 w 5127438"/>
              <a:gd name="connsiteY5" fmla="*/ 513447 h 4526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27438" h="4526359">
                <a:moveTo>
                  <a:pt x="5100034" y="0"/>
                </a:moveTo>
                <a:lnTo>
                  <a:pt x="5127438" y="0"/>
                </a:lnTo>
                <a:lnTo>
                  <a:pt x="5127438" y="4211781"/>
                </a:lnTo>
                <a:lnTo>
                  <a:pt x="2002757" y="4526359"/>
                </a:lnTo>
                <a:lnTo>
                  <a:pt x="0" y="4526359"/>
                </a:lnTo>
                <a:lnTo>
                  <a:pt x="0" y="513447"/>
                </a:lnTo>
                <a:close/>
              </a:path>
            </a:pathLst>
          </a:custGeom>
          <a:solidFill>
            <a:schemeClr val="tx2">
              <a:alpha val="74000"/>
            </a:schemeClr>
          </a:solidFill>
        </p:spPr>
        <p:txBody>
          <a:bodyPr wrap="square" lIns="1008000" tIns="864000" rIns="1008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8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graphicFrame>
        <p:nvGraphicFramePr>
          <p:cNvPr id="13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01514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84" imgH="385" progId="TCLayout.ActiveDocument.1">
                  <p:embed/>
                </p:oleObj>
              </mc:Choice>
              <mc:Fallback>
                <p:oleObj name="think-cell Folie" r:id="rId9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Freihandform: Form 27">
            <a:extLst>
              <a:ext uri="{FF2B5EF4-FFF2-40B4-BE49-F238E27FC236}">
                <a16:creationId xmlns:a16="http://schemas.microsoft.com/office/drawing/2014/main" id="{95D94426-CD31-4CB6-9F92-417C86DD83E5}"/>
              </a:ext>
            </a:extLst>
          </p:cNvPr>
          <p:cNvSpPr/>
          <p:nvPr userDrawn="1"/>
        </p:nvSpPr>
        <p:spPr>
          <a:xfrm rot="10800000" flipH="1" flipV="1">
            <a:off x="1449685" y="5776515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9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grpSp>
        <p:nvGrpSpPr>
          <p:cNvPr id="20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21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58657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EIß // 2 Texte auf Bil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F0BFEF38-786D-4152-A749-2AFFD780C12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97398"/>
            <a:ext cx="7788277" cy="6216757"/>
          </a:xfrm>
          <a:custGeom>
            <a:avLst/>
            <a:gdLst>
              <a:gd name="connsiteX0" fmla="*/ 7788277 w 7788277"/>
              <a:gd name="connsiteY0" fmla="*/ 0 h 6216757"/>
              <a:gd name="connsiteX1" fmla="*/ 7788277 w 7788277"/>
              <a:gd name="connsiteY1" fmla="*/ 856056 h 6216757"/>
              <a:gd name="connsiteX2" fmla="*/ 7788277 w 7788277"/>
              <a:gd name="connsiteY2" fmla="*/ 979568 h 6216757"/>
              <a:gd name="connsiteX3" fmla="*/ 4116386 w 7788277"/>
              <a:gd name="connsiteY3" fmla="*/ 1349236 h 6216757"/>
              <a:gd name="connsiteX4" fmla="*/ 4116386 w 7788277"/>
              <a:gd name="connsiteY4" fmla="*/ 1364277 h 6216757"/>
              <a:gd name="connsiteX5" fmla="*/ 4116386 w 7788277"/>
              <a:gd name="connsiteY5" fmla="*/ 3014189 h 6216757"/>
              <a:gd name="connsiteX6" fmla="*/ 4116386 w 7788277"/>
              <a:gd name="connsiteY6" fmla="*/ 5819655 h 6216757"/>
              <a:gd name="connsiteX7" fmla="*/ 0 w 7788277"/>
              <a:gd name="connsiteY7" fmla="*/ 6216757 h 6216757"/>
              <a:gd name="connsiteX8" fmla="*/ 0 w 7788277"/>
              <a:gd name="connsiteY8" fmla="*/ 5360701 h 6216757"/>
              <a:gd name="connsiteX9" fmla="*/ 0 w 7788277"/>
              <a:gd name="connsiteY9" fmla="*/ 1640142 h 6216757"/>
              <a:gd name="connsiteX10" fmla="*/ 0 w 7788277"/>
              <a:gd name="connsiteY10" fmla="*/ 784086 h 6216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88277" h="6216757">
                <a:moveTo>
                  <a:pt x="7788277" y="0"/>
                </a:moveTo>
                <a:lnTo>
                  <a:pt x="7788277" y="856056"/>
                </a:lnTo>
                <a:lnTo>
                  <a:pt x="7788277" y="979568"/>
                </a:lnTo>
                <a:lnTo>
                  <a:pt x="4116386" y="1349236"/>
                </a:lnTo>
                <a:lnTo>
                  <a:pt x="4116386" y="1364277"/>
                </a:lnTo>
                <a:lnTo>
                  <a:pt x="4116386" y="3014189"/>
                </a:lnTo>
                <a:lnTo>
                  <a:pt x="4116386" y="5819655"/>
                </a:lnTo>
                <a:lnTo>
                  <a:pt x="0" y="6216757"/>
                </a:lnTo>
                <a:lnTo>
                  <a:pt x="0" y="5360701"/>
                </a:lnTo>
                <a:lnTo>
                  <a:pt x="0" y="1640142"/>
                </a:lnTo>
                <a:lnTo>
                  <a:pt x="0" y="7840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148BEEFE-4F0A-4044-96B5-A6ADD49FFDC3}"/>
              </a:ext>
            </a:extLst>
          </p:cNvPr>
          <p:cNvSpPr/>
          <p:nvPr/>
        </p:nvSpPr>
        <p:spPr>
          <a:xfrm rot="10800000">
            <a:off x="4116386" y="878210"/>
            <a:ext cx="7632701" cy="5912718"/>
          </a:xfrm>
          <a:custGeom>
            <a:avLst/>
            <a:gdLst>
              <a:gd name="connsiteX0" fmla="*/ 0 w 7632701"/>
              <a:gd name="connsiteY0" fmla="*/ 5912718 h 5912718"/>
              <a:gd name="connsiteX1" fmla="*/ 0 w 7632701"/>
              <a:gd name="connsiteY1" fmla="*/ 5897677 h 5912718"/>
              <a:gd name="connsiteX2" fmla="*/ 0 w 7632701"/>
              <a:gd name="connsiteY2" fmla="*/ 5837327 h 5912718"/>
              <a:gd name="connsiteX3" fmla="*/ 0 w 7632701"/>
              <a:gd name="connsiteY3" fmla="*/ 5774928 h 5912718"/>
              <a:gd name="connsiteX4" fmla="*/ 0 w 7632701"/>
              <a:gd name="connsiteY4" fmla="*/ 5759887 h 5912718"/>
              <a:gd name="connsiteX5" fmla="*/ 0 w 7632701"/>
              <a:gd name="connsiteY5" fmla="*/ 5699537 h 5912718"/>
              <a:gd name="connsiteX6" fmla="*/ 0 w 7632701"/>
              <a:gd name="connsiteY6" fmla="*/ 5697598 h 5912718"/>
              <a:gd name="connsiteX7" fmla="*/ 0 w 7632701"/>
              <a:gd name="connsiteY7" fmla="*/ 5589538 h 5912718"/>
              <a:gd name="connsiteX8" fmla="*/ 0 w 7632701"/>
              <a:gd name="connsiteY8" fmla="*/ 5559808 h 5912718"/>
              <a:gd name="connsiteX9" fmla="*/ 0 w 7632701"/>
              <a:gd name="connsiteY9" fmla="*/ 5530900 h 5912718"/>
              <a:gd name="connsiteX10" fmla="*/ 0 w 7632701"/>
              <a:gd name="connsiteY10" fmla="*/ 5451748 h 5912718"/>
              <a:gd name="connsiteX11" fmla="*/ 0 w 7632701"/>
              <a:gd name="connsiteY11" fmla="*/ 5422839 h 5912718"/>
              <a:gd name="connsiteX12" fmla="*/ 0 w 7632701"/>
              <a:gd name="connsiteY12" fmla="*/ 5393110 h 5912718"/>
              <a:gd name="connsiteX13" fmla="*/ 0 w 7632701"/>
              <a:gd name="connsiteY13" fmla="*/ 5285049 h 5912718"/>
              <a:gd name="connsiteX14" fmla="*/ 0 w 7632701"/>
              <a:gd name="connsiteY14" fmla="*/ 5275330 h 5912718"/>
              <a:gd name="connsiteX15" fmla="*/ 0 w 7632701"/>
              <a:gd name="connsiteY15" fmla="*/ 5137540 h 5912718"/>
              <a:gd name="connsiteX16" fmla="*/ 0 w 7632701"/>
              <a:gd name="connsiteY16" fmla="*/ 4247765 h 5912718"/>
              <a:gd name="connsiteX17" fmla="*/ 0 w 7632701"/>
              <a:gd name="connsiteY17" fmla="*/ 4109975 h 5912718"/>
              <a:gd name="connsiteX18" fmla="*/ 0 w 7632701"/>
              <a:gd name="connsiteY18" fmla="*/ 3625418 h 5912718"/>
              <a:gd name="connsiteX19" fmla="*/ 0 w 7632701"/>
              <a:gd name="connsiteY19" fmla="*/ 3487628 h 5912718"/>
              <a:gd name="connsiteX20" fmla="*/ 0 w 7632701"/>
              <a:gd name="connsiteY20" fmla="*/ 3379668 h 5912718"/>
              <a:gd name="connsiteX21" fmla="*/ 0 w 7632701"/>
              <a:gd name="connsiteY21" fmla="*/ 3241878 h 5912718"/>
              <a:gd name="connsiteX22" fmla="*/ 0 w 7632701"/>
              <a:gd name="connsiteY22" fmla="*/ 2970612 h 5912718"/>
              <a:gd name="connsiteX23" fmla="*/ 0 w 7632701"/>
              <a:gd name="connsiteY23" fmla="*/ 2832822 h 5912718"/>
              <a:gd name="connsiteX24" fmla="*/ 0 w 7632701"/>
              <a:gd name="connsiteY24" fmla="*/ 2664186 h 5912718"/>
              <a:gd name="connsiteX25" fmla="*/ 0 w 7632701"/>
              <a:gd name="connsiteY25" fmla="*/ 2556126 h 5912718"/>
              <a:gd name="connsiteX26" fmla="*/ 0 w 7632701"/>
              <a:gd name="connsiteY26" fmla="*/ 2526396 h 5912718"/>
              <a:gd name="connsiteX27" fmla="*/ 0 w 7632701"/>
              <a:gd name="connsiteY27" fmla="*/ 2418336 h 5912718"/>
              <a:gd name="connsiteX28" fmla="*/ 0 w 7632701"/>
              <a:gd name="connsiteY28" fmla="*/ 1729756 h 5912718"/>
              <a:gd name="connsiteX29" fmla="*/ 0 w 7632701"/>
              <a:gd name="connsiteY29" fmla="*/ 1591966 h 5912718"/>
              <a:gd name="connsiteX30" fmla="*/ 0 w 7632701"/>
              <a:gd name="connsiteY30" fmla="*/ 1320700 h 5912718"/>
              <a:gd name="connsiteX31" fmla="*/ 0 w 7632701"/>
              <a:gd name="connsiteY31" fmla="*/ 1182910 h 5912718"/>
              <a:gd name="connsiteX32" fmla="*/ 0 w 7632701"/>
              <a:gd name="connsiteY32" fmla="*/ 1014273 h 5912718"/>
              <a:gd name="connsiteX33" fmla="*/ 0 w 7632701"/>
              <a:gd name="connsiteY33" fmla="*/ 906214 h 5912718"/>
              <a:gd name="connsiteX34" fmla="*/ 0 w 7632701"/>
              <a:gd name="connsiteY34" fmla="*/ 876483 h 5912718"/>
              <a:gd name="connsiteX35" fmla="*/ 0 w 7632701"/>
              <a:gd name="connsiteY35" fmla="*/ 768424 h 5912718"/>
              <a:gd name="connsiteX36" fmla="*/ 7632701 w 7632701"/>
              <a:gd name="connsiteY36" fmla="*/ 0 h 5912718"/>
              <a:gd name="connsiteX37" fmla="*/ 7632701 w 7632701"/>
              <a:gd name="connsiteY37" fmla="*/ 137790 h 5912718"/>
              <a:gd name="connsiteX38" fmla="*/ 7632701 w 7632701"/>
              <a:gd name="connsiteY38" fmla="*/ 3341551 h 5912718"/>
              <a:gd name="connsiteX39" fmla="*/ 7632701 w 7632701"/>
              <a:gd name="connsiteY39" fmla="*/ 3479341 h 5912718"/>
              <a:gd name="connsiteX40" fmla="*/ 7632701 w 7632701"/>
              <a:gd name="connsiteY40" fmla="*/ 4991463 h 5912718"/>
              <a:gd name="connsiteX41" fmla="*/ 7632701 w 7632701"/>
              <a:gd name="connsiteY41" fmla="*/ 5006504 h 5912718"/>
              <a:gd name="connsiteX42" fmla="*/ 7632701 w 7632701"/>
              <a:gd name="connsiteY42" fmla="*/ 5129253 h 5912718"/>
              <a:gd name="connsiteX43" fmla="*/ 7632701 w 7632701"/>
              <a:gd name="connsiteY43" fmla="*/ 5144294 h 5912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7632701" h="5912718">
                <a:moveTo>
                  <a:pt x="0" y="5912718"/>
                </a:moveTo>
                <a:lnTo>
                  <a:pt x="0" y="5897677"/>
                </a:lnTo>
                <a:lnTo>
                  <a:pt x="0" y="5837327"/>
                </a:lnTo>
                <a:lnTo>
                  <a:pt x="0" y="5774928"/>
                </a:lnTo>
                <a:lnTo>
                  <a:pt x="0" y="5759887"/>
                </a:lnTo>
                <a:lnTo>
                  <a:pt x="0" y="5699537"/>
                </a:lnTo>
                <a:lnTo>
                  <a:pt x="0" y="5697598"/>
                </a:lnTo>
                <a:lnTo>
                  <a:pt x="0" y="5589538"/>
                </a:lnTo>
                <a:lnTo>
                  <a:pt x="0" y="5559808"/>
                </a:lnTo>
                <a:lnTo>
                  <a:pt x="0" y="5530900"/>
                </a:lnTo>
                <a:lnTo>
                  <a:pt x="0" y="5451748"/>
                </a:lnTo>
                <a:lnTo>
                  <a:pt x="0" y="5422839"/>
                </a:lnTo>
                <a:lnTo>
                  <a:pt x="0" y="5393110"/>
                </a:lnTo>
                <a:lnTo>
                  <a:pt x="0" y="5285049"/>
                </a:lnTo>
                <a:lnTo>
                  <a:pt x="0" y="5275330"/>
                </a:lnTo>
                <a:lnTo>
                  <a:pt x="0" y="5137540"/>
                </a:lnTo>
                <a:lnTo>
                  <a:pt x="0" y="4247765"/>
                </a:lnTo>
                <a:lnTo>
                  <a:pt x="0" y="4109975"/>
                </a:lnTo>
                <a:lnTo>
                  <a:pt x="0" y="3625418"/>
                </a:lnTo>
                <a:lnTo>
                  <a:pt x="0" y="3487628"/>
                </a:lnTo>
                <a:lnTo>
                  <a:pt x="0" y="3379668"/>
                </a:lnTo>
                <a:lnTo>
                  <a:pt x="0" y="3241878"/>
                </a:lnTo>
                <a:lnTo>
                  <a:pt x="0" y="2970612"/>
                </a:lnTo>
                <a:lnTo>
                  <a:pt x="0" y="2832822"/>
                </a:lnTo>
                <a:lnTo>
                  <a:pt x="0" y="2664186"/>
                </a:lnTo>
                <a:lnTo>
                  <a:pt x="0" y="2556126"/>
                </a:lnTo>
                <a:lnTo>
                  <a:pt x="0" y="2526396"/>
                </a:lnTo>
                <a:lnTo>
                  <a:pt x="0" y="2418336"/>
                </a:lnTo>
                <a:lnTo>
                  <a:pt x="0" y="1729756"/>
                </a:lnTo>
                <a:lnTo>
                  <a:pt x="0" y="1591966"/>
                </a:lnTo>
                <a:lnTo>
                  <a:pt x="0" y="1320700"/>
                </a:lnTo>
                <a:lnTo>
                  <a:pt x="0" y="1182910"/>
                </a:lnTo>
                <a:lnTo>
                  <a:pt x="0" y="1014273"/>
                </a:lnTo>
                <a:lnTo>
                  <a:pt x="0" y="906214"/>
                </a:lnTo>
                <a:lnTo>
                  <a:pt x="0" y="876483"/>
                </a:lnTo>
                <a:lnTo>
                  <a:pt x="0" y="768424"/>
                </a:lnTo>
                <a:lnTo>
                  <a:pt x="7632701" y="0"/>
                </a:lnTo>
                <a:lnTo>
                  <a:pt x="7632701" y="137790"/>
                </a:lnTo>
                <a:lnTo>
                  <a:pt x="7632701" y="3341551"/>
                </a:lnTo>
                <a:lnTo>
                  <a:pt x="7632701" y="3479341"/>
                </a:lnTo>
                <a:lnTo>
                  <a:pt x="7632701" y="4991463"/>
                </a:lnTo>
                <a:lnTo>
                  <a:pt x="7632701" y="5006504"/>
                </a:lnTo>
                <a:lnTo>
                  <a:pt x="7632701" y="5129253"/>
                </a:lnTo>
                <a:lnTo>
                  <a:pt x="7632701" y="5144294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6166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Freihandform: Form 22">
            <a:extLst>
              <a:ext uri="{FF2B5EF4-FFF2-40B4-BE49-F238E27FC236}">
                <a16:creationId xmlns:a16="http://schemas.microsoft.com/office/drawing/2014/main" id="{A0D903E6-C44E-4A70-A6AE-FB7D4F2C04E9}"/>
              </a:ext>
            </a:extLst>
          </p:cNvPr>
          <p:cNvSpPr/>
          <p:nvPr/>
        </p:nvSpPr>
        <p:spPr>
          <a:xfrm>
            <a:off x="5613395" y="6223371"/>
            <a:ext cx="6578604" cy="634629"/>
          </a:xfrm>
          <a:custGeom>
            <a:avLst/>
            <a:gdLst>
              <a:gd name="connsiteX0" fmla="*/ 6578604 w 6578604"/>
              <a:gd name="connsiteY0" fmla="*/ 0 h 634629"/>
              <a:gd name="connsiteX1" fmla="*/ 6578604 w 6578604"/>
              <a:gd name="connsiteY1" fmla="*/ 581488 h 634629"/>
              <a:gd name="connsiteX2" fmla="*/ 6578604 w 6578604"/>
              <a:gd name="connsiteY2" fmla="*/ 634629 h 634629"/>
              <a:gd name="connsiteX3" fmla="*/ 0 w 6578604"/>
              <a:gd name="connsiteY3" fmla="*/ 634629 h 634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8604" h="634629">
                <a:moveTo>
                  <a:pt x="6578604" y="0"/>
                </a:moveTo>
                <a:lnTo>
                  <a:pt x="6578604" y="581488"/>
                </a:lnTo>
                <a:lnTo>
                  <a:pt x="6578604" y="634629"/>
                </a:lnTo>
                <a:lnTo>
                  <a:pt x="0" y="634629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0" name="Text Placeholder 61">
            <a:extLst>
              <a:ext uri="{FF2B5EF4-FFF2-40B4-BE49-F238E27FC236}">
                <a16:creationId xmlns:a16="http://schemas.microsoft.com/office/drawing/2014/main" id="{2D02F780-5912-428A-9BD7-0A3D8102FA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8999" y="589506"/>
            <a:ext cx="1216800" cy="12168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1" name="Text Placeholder 34">
            <a:extLst>
              <a:ext uri="{FF2B5EF4-FFF2-40B4-BE49-F238E27FC236}">
                <a16:creationId xmlns:a16="http://schemas.microsoft.com/office/drawing/2014/main" id="{F68C68D2-6AA1-4354-AC6D-4CF0689386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1897316"/>
            <a:ext cx="3384550" cy="3806797"/>
          </a:xfrm>
        </p:spPr>
        <p:txBody>
          <a:bodyPr/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8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2" name="Text Placeholder 34">
            <a:extLst>
              <a:ext uri="{FF2B5EF4-FFF2-40B4-BE49-F238E27FC236}">
                <a16:creationId xmlns:a16="http://schemas.microsoft.com/office/drawing/2014/main" id="{B2627D31-BA2B-49B5-A7EB-39B12E23280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897316"/>
            <a:ext cx="3335770" cy="3806797"/>
          </a:xfrm>
        </p:spPr>
        <p:txBody>
          <a:bodyPr/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8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Freeform 18">
            <a:extLst>
              <a:ext uri="{FF2B5EF4-FFF2-40B4-BE49-F238E27FC236}">
                <a16:creationId xmlns:a16="http://schemas.microsoft.com/office/drawing/2014/main" id="{148BEEFE-4F0A-4044-96B5-A6ADD49FFDC3}"/>
              </a:ext>
            </a:extLst>
          </p:cNvPr>
          <p:cNvSpPr/>
          <p:nvPr userDrawn="1"/>
        </p:nvSpPr>
        <p:spPr>
          <a:xfrm rot="10800000">
            <a:off x="4116386" y="878210"/>
            <a:ext cx="7632701" cy="5912718"/>
          </a:xfrm>
          <a:custGeom>
            <a:avLst/>
            <a:gdLst>
              <a:gd name="connsiteX0" fmla="*/ 0 w 7632701"/>
              <a:gd name="connsiteY0" fmla="*/ 5912718 h 5912718"/>
              <a:gd name="connsiteX1" fmla="*/ 0 w 7632701"/>
              <a:gd name="connsiteY1" fmla="*/ 5897677 h 5912718"/>
              <a:gd name="connsiteX2" fmla="*/ 0 w 7632701"/>
              <a:gd name="connsiteY2" fmla="*/ 5837327 h 5912718"/>
              <a:gd name="connsiteX3" fmla="*/ 0 w 7632701"/>
              <a:gd name="connsiteY3" fmla="*/ 5774928 h 5912718"/>
              <a:gd name="connsiteX4" fmla="*/ 0 w 7632701"/>
              <a:gd name="connsiteY4" fmla="*/ 5759887 h 5912718"/>
              <a:gd name="connsiteX5" fmla="*/ 0 w 7632701"/>
              <a:gd name="connsiteY5" fmla="*/ 5699537 h 5912718"/>
              <a:gd name="connsiteX6" fmla="*/ 0 w 7632701"/>
              <a:gd name="connsiteY6" fmla="*/ 5697598 h 5912718"/>
              <a:gd name="connsiteX7" fmla="*/ 0 w 7632701"/>
              <a:gd name="connsiteY7" fmla="*/ 5589538 h 5912718"/>
              <a:gd name="connsiteX8" fmla="*/ 0 w 7632701"/>
              <a:gd name="connsiteY8" fmla="*/ 5559808 h 5912718"/>
              <a:gd name="connsiteX9" fmla="*/ 0 w 7632701"/>
              <a:gd name="connsiteY9" fmla="*/ 5530900 h 5912718"/>
              <a:gd name="connsiteX10" fmla="*/ 0 w 7632701"/>
              <a:gd name="connsiteY10" fmla="*/ 5451748 h 5912718"/>
              <a:gd name="connsiteX11" fmla="*/ 0 w 7632701"/>
              <a:gd name="connsiteY11" fmla="*/ 5422839 h 5912718"/>
              <a:gd name="connsiteX12" fmla="*/ 0 w 7632701"/>
              <a:gd name="connsiteY12" fmla="*/ 5393110 h 5912718"/>
              <a:gd name="connsiteX13" fmla="*/ 0 w 7632701"/>
              <a:gd name="connsiteY13" fmla="*/ 5285049 h 5912718"/>
              <a:gd name="connsiteX14" fmla="*/ 0 w 7632701"/>
              <a:gd name="connsiteY14" fmla="*/ 5275330 h 5912718"/>
              <a:gd name="connsiteX15" fmla="*/ 0 w 7632701"/>
              <a:gd name="connsiteY15" fmla="*/ 5137540 h 5912718"/>
              <a:gd name="connsiteX16" fmla="*/ 0 w 7632701"/>
              <a:gd name="connsiteY16" fmla="*/ 4247765 h 5912718"/>
              <a:gd name="connsiteX17" fmla="*/ 0 w 7632701"/>
              <a:gd name="connsiteY17" fmla="*/ 4109975 h 5912718"/>
              <a:gd name="connsiteX18" fmla="*/ 0 w 7632701"/>
              <a:gd name="connsiteY18" fmla="*/ 3625418 h 5912718"/>
              <a:gd name="connsiteX19" fmla="*/ 0 w 7632701"/>
              <a:gd name="connsiteY19" fmla="*/ 3487628 h 5912718"/>
              <a:gd name="connsiteX20" fmla="*/ 0 w 7632701"/>
              <a:gd name="connsiteY20" fmla="*/ 3379668 h 5912718"/>
              <a:gd name="connsiteX21" fmla="*/ 0 w 7632701"/>
              <a:gd name="connsiteY21" fmla="*/ 3241878 h 5912718"/>
              <a:gd name="connsiteX22" fmla="*/ 0 w 7632701"/>
              <a:gd name="connsiteY22" fmla="*/ 2970612 h 5912718"/>
              <a:gd name="connsiteX23" fmla="*/ 0 w 7632701"/>
              <a:gd name="connsiteY23" fmla="*/ 2832822 h 5912718"/>
              <a:gd name="connsiteX24" fmla="*/ 0 w 7632701"/>
              <a:gd name="connsiteY24" fmla="*/ 2664186 h 5912718"/>
              <a:gd name="connsiteX25" fmla="*/ 0 w 7632701"/>
              <a:gd name="connsiteY25" fmla="*/ 2556126 h 5912718"/>
              <a:gd name="connsiteX26" fmla="*/ 0 w 7632701"/>
              <a:gd name="connsiteY26" fmla="*/ 2526396 h 5912718"/>
              <a:gd name="connsiteX27" fmla="*/ 0 w 7632701"/>
              <a:gd name="connsiteY27" fmla="*/ 2418336 h 5912718"/>
              <a:gd name="connsiteX28" fmla="*/ 0 w 7632701"/>
              <a:gd name="connsiteY28" fmla="*/ 1729756 h 5912718"/>
              <a:gd name="connsiteX29" fmla="*/ 0 w 7632701"/>
              <a:gd name="connsiteY29" fmla="*/ 1591966 h 5912718"/>
              <a:gd name="connsiteX30" fmla="*/ 0 w 7632701"/>
              <a:gd name="connsiteY30" fmla="*/ 1320700 h 5912718"/>
              <a:gd name="connsiteX31" fmla="*/ 0 w 7632701"/>
              <a:gd name="connsiteY31" fmla="*/ 1182910 h 5912718"/>
              <a:gd name="connsiteX32" fmla="*/ 0 w 7632701"/>
              <a:gd name="connsiteY32" fmla="*/ 1014273 h 5912718"/>
              <a:gd name="connsiteX33" fmla="*/ 0 w 7632701"/>
              <a:gd name="connsiteY33" fmla="*/ 906214 h 5912718"/>
              <a:gd name="connsiteX34" fmla="*/ 0 w 7632701"/>
              <a:gd name="connsiteY34" fmla="*/ 876483 h 5912718"/>
              <a:gd name="connsiteX35" fmla="*/ 0 w 7632701"/>
              <a:gd name="connsiteY35" fmla="*/ 768424 h 5912718"/>
              <a:gd name="connsiteX36" fmla="*/ 7632701 w 7632701"/>
              <a:gd name="connsiteY36" fmla="*/ 0 h 5912718"/>
              <a:gd name="connsiteX37" fmla="*/ 7632701 w 7632701"/>
              <a:gd name="connsiteY37" fmla="*/ 137790 h 5912718"/>
              <a:gd name="connsiteX38" fmla="*/ 7632701 w 7632701"/>
              <a:gd name="connsiteY38" fmla="*/ 3341551 h 5912718"/>
              <a:gd name="connsiteX39" fmla="*/ 7632701 w 7632701"/>
              <a:gd name="connsiteY39" fmla="*/ 3479341 h 5912718"/>
              <a:gd name="connsiteX40" fmla="*/ 7632701 w 7632701"/>
              <a:gd name="connsiteY40" fmla="*/ 4991463 h 5912718"/>
              <a:gd name="connsiteX41" fmla="*/ 7632701 w 7632701"/>
              <a:gd name="connsiteY41" fmla="*/ 5006504 h 5912718"/>
              <a:gd name="connsiteX42" fmla="*/ 7632701 w 7632701"/>
              <a:gd name="connsiteY42" fmla="*/ 5129253 h 5912718"/>
              <a:gd name="connsiteX43" fmla="*/ 7632701 w 7632701"/>
              <a:gd name="connsiteY43" fmla="*/ 5144294 h 5912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7632701" h="5912718">
                <a:moveTo>
                  <a:pt x="0" y="5912718"/>
                </a:moveTo>
                <a:lnTo>
                  <a:pt x="0" y="5897677"/>
                </a:lnTo>
                <a:lnTo>
                  <a:pt x="0" y="5837327"/>
                </a:lnTo>
                <a:lnTo>
                  <a:pt x="0" y="5774928"/>
                </a:lnTo>
                <a:lnTo>
                  <a:pt x="0" y="5759887"/>
                </a:lnTo>
                <a:lnTo>
                  <a:pt x="0" y="5699537"/>
                </a:lnTo>
                <a:lnTo>
                  <a:pt x="0" y="5697598"/>
                </a:lnTo>
                <a:lnTo>
                  <a:pt x="0" y="5589538"/>
                </a:lnTo>
                <a:lnTo>
                  <a:pt x="0" y="5559808"/>
                </a:lnTo>
                <a:lnTo>
                  <a:pt x="0" y="5530900"/>
                </a:lnTo>
                <a:lnTo>
                  <a:pt x="0" y="5451748"/>
                </a:lnTo>
                <a:lnTo>
                  <a:pt x="0" y="5422839"/>
                </a:lnTo>
                <a:lnTo>
                  <a:pt x="0" y="5393110"/>
                </a:lnTo>
                <a:lnTo>
                  <a:pt x="0" y="5285049"/>
                </a:lnTo>
                <a:lnTo>
                  <a:pt x="0" y="5275330"/>
                </a:lnTo>
                <a:lnTo>
                  <a:pt x="0" y="5137540"/>
                </a:lnTo>
                <a:lnTo>
                  <a:pt x="0" y="4247765"/>
                </a:lnTo>
                <a:lnTo>
                  <a:pt x="0" y="4109975"/>
                </a:lnTo>
                <a:lnTo>
                  <a:pt x="0" y="3625418"/>
                </a:lnTo>
                <a:lnTo>
                  <a:pt x="0" y="3487628"/>
                </a:lnTo>
                <a:lnTo>
                  <a:pt x="0" y="3379668"/>
                </a:lnTo>
                <a:lnTo>
                  <a:pt x="0" y="3241878"/>
                </a:lnTo>
                <a:lnTo>
                  <a:pt x="0" y="2970612"/>
                </a:lnTo>
                <a:lnTo>
                  <a:pt x="0" y="2832822"/>
                </a:lnTo>
                <a:lnTo>
                  <a:pt x="0" y="2664186"/>
                </a:lnTo>
                <a:lnTo>
                  <a:pt x="0" y="2556126"/>
                </a:lnTo>
                <a:lnTo>
                  <a:pt x="0" y="2526396"/>
                </a:lnTo>
                <a:lnTo>
                  <a:pt x="0" y="2418336"/>
                </a:lnTo>
                <a:lnTo>
                  <a:pt x="0" y="1729756"/>
                </a:lnTo>
                <a:lnTo>
                  <a:pt x="0" y="1591966"/>
                </a:lnTo>
                <a:lnTo>
                  <a:pt x="0" y="1320700"/>
                </a:lnTo>
                <a:lnTo>
                  <a:pt x="0" y="1182910"/>
                </a:lnTo>
                <a:lnTo>
                  <a:pt x="0" y="1014273"/>
                </a:lnTo>
                <a:lnTo>
                  <a:pt x="0" y="906214"/>
                </a:lnTo>
                <a:lnTo>
                  <a:pt x="0" y="876483"/>
                </a:lnTo>
                <a:lnTo>
                  <a:pt x="0" y="768424"/>
                </a:lnTo>
                <a:lnTo>
                  <a:pt x="7632701" y="0"/>
                </a:lnTo>
                <a:lnTo>
                  <a:pt x="7632701" y="137790"/>
                </a:lnTo>
                <a:lnTo>
                  <a:pt x="7632701" y="3341551"/>
                </a:lnTo>
                <a:lnTo>
                  <a:pt x="7632701" y="3479341"/>
                </a:lnTo>
                <a:lnTo>
                  <a:pt x="7632701" y="4991463"/>
                </a:lnTo>
                <a:lnTo>
                  <a:pt x="7632701" y="5006504"/>
                </a:lnTo>
                <a:lnTo>
                  <a:pt x="7632701" y="5129253"/>
                </a:lnTo>
                <a:lnTo>
                  <a:pt x="7632701" y="5144294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graphicFrame>
        <p:nvGraphicFramePr>
          <p:cNvPr id="18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9552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84" imgH="385" progId="TCLayout.ActiveDocument.1">
                  <p:embed/>
                </p:oleObj>
              </mc:Choice>
              <mc:Fallback>
                <p:oleObj name="think-cell Folie" r:id="rId9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grpSp>
        <p:nvGrpSpPr>
          <p:cNvPr id="22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23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5" name="Freihandform: Form 22">
            <a:extLst>
              <a:ext uri="{FF2B5EF4-FFF2-40B4-BE49-F238E27FC236}">
                <a16:creationId xmlns:a16="http://schemas.microsoft.com/office/drawing/2014/main" id="{A0D903E6-C44E-4A70-A6AE-FB7D4F2C04E9}"/>
              </a:ext>
            </a:extLst>
          </p:cNvPr>
          <p:cNvSpPr/>
          <p:nvPr userDrawn="1"/>
        </p:nvSpPr>
        <p:spPr>
          <a:xfrm>
            <a:off x="5613395" y="6223371"/>
            <a:ext cx="6578604" cy="634629"/>
          </a:xfrm>
          <a:custGeom>
            <a:avLst/>
            <a:gdLst>
              <a:gd name="connsiteX0" fmla="*/ 6578604 w 6578604"/>
              <a:gd name="connsiteY0" fmla="*/ 0 h 634629"/>
              <a:gd name="connsiteX1" fmla="*/ 6578604 w 6578604"/>
              <a:gd name="connsiteY1" fmla="*/ 581488 h 634629"/>
              <a:gd name="connsiteX2" fmla="*/ 6578604 w 6578604"/>
              <a:gd name="connsiteY2" fmla="*/ 634629 h 634629"/>
              <a:gd name="connsiteX3" fmla="*/ 0 w 6578604"/>
              <a:gd name="connsiteY3" fmla="*/ 634629 h 634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8604" h="634629">
                <a:moveTo>
                  <a:pt x="6578604" y="0"/>
                </a:moveTo>
                <a:lnTo>
                  <a:pt x="6578604" y="581488"/>
                </a:lnTo>
                <a:lnTo>
                  <a:pt x="6578604" y="634629"/>
                </a:lnTo>
                <a:lnTo>
                  <a:pt x="0" y="634629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0293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87">
          <p15:clr>
            <a:srgbClr val="F26B43"/>
          </p15:clr>
        </p15:guide>
        <p15:guide id="5" pos="4906" userDrawn="1">
          <p15:clr>
            <a:srgbClr val="F26B43"/>
          </p15:clr>
        </p15:guide>
        <p15:guide id="6" pos="2774" userDrawn="1">
          <p15:clr>
            <a:srgbClr val="F26B43"/>
          </p15:clr>
        </p15:guide>
        <p15:guide id="7" orient="horz" pos="1185" userDrawn="1">
          <p15:clr>
            <a:srgbClr val="F26B43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WARZ // 2 Texte auf Bilplatzhal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041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F0BFEF38-786D-4152-A749-2AFFD780C12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97398"/>
            <a:ext cx="7788277" cy="6216757"/>
          </a:xfrm>
          <a:custGeom>
            <a:avLst/>
            <a:gdLst>
              <a:gd name="connsiteX0" fmla="*/ 7788277 w 7788277"/>
              <a:gd name="connsiteY0" fmla="*/ 0 h 6216757"/>
              <a:gd name="connsiteX1" fmla="*/ 7788277 w 7788277"/>
              <a:gd name="connsiteY1" fmla="*/ 856056 h 6216757"/>
              <a:gd name="connsiteX2" fmla="*/ 7788277 w 7788277"/>
              <a:gd name="connsiteY2" fmla="*/ 979568 h 6216757"/>
              <a:gd name="connsiteX3" fmla="*/ 4116386 w 7788277"/>
              <a:gd name="connsiteY3" fmla="*/ 1349236 h 6216757"/>
              <a:gd name="connsiteX4" fmla="*/ 4116386 w 7788277"/>
              <a:gd name="connsiteY4" fmla="*/ 1364277 h 6216757"/>
              <a:gd name="connsiteX5" fmla="*/ 4116386 w 7788277"/>
              <a:gd name="connsiteY5" fmla="*/ 3014189 h 6216757"/>
              <a:gd name="connsiteX6" fmla="*/ 4116386 w 7788277"/>
              <a:gd name="connsiteY6" fmla="*/ 5819655 h 6216757"/>
              <a:gd name="connsiteX7" fmla="*/ 0 w 7788277"/>
              <a:gd name="connsiteY7" fmla="*/ 6216757 h 6216757"/>
              <a:gd name="connsiteX8" fmla="*/ 0 w 7788277"/>
              <a:gd name="connsiteY8" fmla="*/ 5360701 h 6216757"/>
              <a:gd name="connsiteX9" fmla="*/ 0 w 7788277"/>
              <a:gd name="connsiteY9" fmla="*/ 1640142 h 6216757"/>
              <a:gd name="connsiteX10" fmla="*/ 0 w 7788277"/>
              <a:gd name="connsiteY10" fmla="*/ 784086 h 6216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88277" h="6216757">
                <a:moveTo>
                  <a:pt x="7788277" y="0"/>
                </a:moveTo>
                <a:lnTo>
                  <a:pt x="7788277" y="856056"/>
                </a:lnTo>
                <a:lnTo>
                  <a:pt x="7788277" y="979568"/>
                </a:lnTo>
                <a:lnTo>
                  <a:pt x="4116386" y="1349236"/>
                </a:lnTo>
                <a:lnTo>
                  <a:pt x="4116386" y="1364277"/>
                </a:lnTo>
                <a:lnTo>
                  <a:pt x="4116386" y="3014189"/>
                </a:lnTo>
                <a:lnTo>
                  <a:pt x="4116386" y="5819655"/>
                </a:lnTo>
                <a:lnTo>
                  <a:pt x="0" y="6216757"/>
                </a:lnTo>
                <a:lnTo>
                  <a:pt x="0" y="5360701"/>
                </a:lnTo>
                <a:lnTo>
                  <a:pt x="0" y="1640142"/>
                </a:lnTo>
                <a:lnTo>
                  <a:pt x="0" y="7840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Freeform 41">
            <a:extLst>
              <a:ext uri="{FF2B5EF4-FFF2-40B4-BE49-F238E27FC236}">
                <a16:creationId xmlns:a16="http://schemas.microsoft.com/office/drawing/2014/main" id="{4F07A579-28CA-49F5-9EEC-EB5412BEBA56}"/>
              </a:ext>
            </a:extLst>
          </p:cNvPr>
          <p:cNvSpPr/>
          <p:nvPr/>
        </p:nvSpPr>
        <p:spPr>
          <a:xfrm>
            <a:off x="102758" y="518040"/>
            <a:ext cx="446364" cy="370116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Freihandform: Form 22">
            <a:extLst>
              <a:ext uri="{FF2B5EF4-FFF2-40B4-BE49-F238E27FC236}">
                <a16:creationId xmlns:a16="http://schemas.microsoft.com/office/drawing/2014/main" id="{A0D903E6-C44E-4A70-A6AE-FB7D4F2C04E9}"/>
              </a:ext>
            </a:extLst>
          </p:cNvPr>
          <p:cNvSpPr/>
          <p:nvPr/>
        </p:nvSpPr>
        <p:spPr>
          <a:xfrm>
            <a:off x="5613395" y="6223371"/>
            <a:ext cx="6578604" cy="634629"/>
          </a:xfrm>
          <a:custGeom>
            <a:avLst/>
            <a:gdLst>
              <a:gd name="connsiteX0" fmla="*/ 6578604 w 6578604"/>
              <a:gd name="connsiteY0" fmla="*/ 0 h 634629"/>
              <a:gd name="connsiteX1" fmla="*/ 6578604 w 6578604"/>
              <a:gd name="connsiteY1" fmla="*/ 581488 h 634629"/>
              <a:gd name="connsiteX2" fmla="*/ 6578604 w 6578604"/>
              <a:gd name="connsiteY2" fmla="*/ 634629 h 634629"/>
              <a:gd name="connsiteX3" fmla="*/ 0 w 6578604"/>
              <a:gd name="connsiteY3" fmla="*/ 634629 h 634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8604" h="634629">
                <a:moveTo>
                  <a:pt x="6578604" y="0"/>
                </a:moveTo>
                <a:lnTo>
                  <a:pt x="6578604" y="581488"/>
                </a:lnTo>
                <a:lnTo>
                  <a:pt x="6578604" y="634629"/>
                </a:lnTo>
                <a:lnTo>
                  <a:pt x="0" y="634629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5" name="Freeform 45">
            <a:extLst>
              <a:ext uri="{FF2B5EF4-FFF2-40B4-BE49-F238E27FC236}">
                <a16:creationId xmlns:a16="http://schemas.microsoft.com/office/drawing/2014/main" id="{D689FEEF-524A-4000-8584-86BE1EBD1742}"/>
              </a:ext>
            </a:extLst>
          </p:cNvPr>
          <p:cNvSpPr/>
          <p:nvPr/>
        </p:nvSpPr>
        <p:spPr>
          <a:xfrm rot="10800000">
            <a:off x="4116386" y="878210"/>
            <a:ext cx="7632701" cy="5774928"/>
          </a:xfrm>
          <a:custGeom>
            <a:avLst/>
            <a:gdLst>
              <a:gd name="connsiteX0" fmla="*/ 0 w 7632701"/>
              <a:gd name="connsiteY0" fmla="*/ 5774928 h 5774928"/>
              <a:gd name="connsiteX1" fmla="*/ 0 w 7632701"/>
              <a:gd name="connsiteY1" fmla="*/ 5759887 h 5774928"/>
              <a:gd name="connsiteX2" fmla="*/ 0 w 7632701"/>
              <a:gd name="connsiteY2" fmla="*/ 5699537 h 5774928"/>
              <a:gd name="connsiteX3" fmla="*/ 0 w 7632701"/>
              <a:gd name="connsiteY3" fmla="*/ 5559808 h 5774928"/>
              <a:gd name="connsiteX4" fmla="*/ 0 w 7632701"/>
              <a:gd name="connsiteY4" fmla="*/ 5451748 h 5774928"/>
              <a:gd name="connsiteX5" fmla="*/ 0 w 7632701"/>
              <a:gd name="connsiteY5" fmla="*/ 5393110 h 5774928"/>
              <a:gd name="connsiteX6" fmla="*/ 0 w 7632701"/>
              <a:gd name="connsiteY6" fmla="*/ 5285049 h 5774928"/>
              <a:gd name="connsiteX7" fmla="*/ 0 w 7632701"/>
              <a:gd name="connsiteY7" fmla="*/ 5137540 h 5774928"/>
              <a:gd name="connsiteX8" fmla="*/ 0 w 7632701"/>
              <a:gd name="connsiteY8" fmla="*/ 4109975 h 5774928"/>
              <a:gd name="connsiteX9" fmla="*/ 0 w 7632701"/>
              <a:gd name="connsiteY9" fmla="*/ 3487628 h 5774928"/>
              <a:gd name="connsiteX10" fmla="*/ 0 w 7632701"/>
              <a:gd name="connsiteY10" fmla="*/ 3241878 h 5774928"/>
              <a:gd name="connsiteX11" fmla="*/ 0 w 7632701"/>
              <a:gd name="connsiteY11" fmla="*/ 2832822 h 5774928"/>
              <a:gd name="connsiteX12" fmla="*/ 0 w 7632701"/>
              <a:gd name="connsiteY12" fmla="*/ 2526396 h 5774928"/>
              <a:gd name="connsiteX13" fmla="*/ 0 w 7632701"/>
              <a:gd name="connsiteY13" fmla="*/ 2418336 h 5774928"/>
              <a:gd name="connsiteX14" fmla="*/ 0 w 7632701"/>
              <a:gd name="connsiteY14" fmla="*/ 1591966 h 5774928"/>
              <a:gd name="connsiteX15" fmla="*/ 0 w 7632701"/>
              <a:gd name="connsiteY15" fmla="*/ 1182910 h 5774928"/>
              <a:gd name="connsiteX16" fmla="*/ 0 w 7632701"/>
              <a:gd name="connsiteY16" fmla="*/ 876483 h 5774928"/>
              <a:gd name="connsiteX17" fmla="*/ 0 w 7632701"/>
              <a:gd name="connsiteY17" fmla="*/ 768424 h 5774928"/>
              <a:gd name="connsiteX18" fmla="*/ 7632701 w 7632701"/>
              <a:gd name="connsiteY18" fmla="*/ 0 h 5774928"/>
              <a:gd name="connsiteX19" fmla="*/ 7632701 w 7632701"/>
              <a:gd name="connsiteY19" fmla="*/ 3341551 h 5774928"/>
              <a:gd name="connsiteX20" fmla="*/ 7632701 w 7632701"/>
              <a:gd name="connsiteY20" fmla="*/ 4991463 h 5774928"/>
              <a:gd name="connsiteX21" fmla="*/ 7632701 w 7632701"/>
              <a:gd name="connsiteY21" fmla="*/ 5006504 h 5774928"/>
              <a:gd name="connsiteX22" fmla="*/ 0 w 7632701"/>
              <a:gd name="connsiteY22" fmla="*/ 5774928 h 5774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7632701" h="5774928">
                <a:moveTo>
                  <a:pt x="0" y="5774928"/>
                </a:moveTo>
                <a:lnTo>
                  <a:pt x="0" y="5759887"/>
                </a:lnTo>
                <a:lnTo>
                  <a:pt x="0" y="5699537"/>
                </a:lnTo>
                <a:lnTo>
                  <a:pt x="0" y="5559808"/>
                </a:lnTo>
                <a:lnTo>
                  <a:pt x="0" y="5451748"/>
                </a:lnTo>
                <a:lnTo>
                  <a:pt x="0" y="5393110"/>
                </a:lnTo>
                <a:lnTo>
                  <a:pt x="0" y="5285049"/>
                </a:lnTo>
                <a:lnTo>
                  <a:pt x="0" y="5137540"/>
                </a:lnTo>
                <a:lnTo>
                  <a:pt x="0" y="4109975"/>
                </a:lnTo>
                <a:lnTo>
                  <a:pt x="0" y="3487628"/>
                </a:lnTo>
                <a:lnTo>
                  <a:pt x="0" y="3241878"/>
                </a:lnTo>
                <a:lnTo>
                  <a:pt x="0" y="2832822"/>
                </a:lnTo>
                <a:lnTo>
                  <a:pt x="0" y="2526396"/>
                </a:lnTo>
                <a:lnTo>
                  <a:pt x="0" y="2418336"/>
                </a:lnTo>
                <a:lnTo>
                  <a:pt x="0" y="1591966"/>
                </a:lnTo>
                <a:lnTo>
                  <a:pt x="0" y="1182910"/>
                </a:lnTo>
                <a:lnTo>
                  <a:pt x="0" y="876483"/>
                </a:lnTo>
                <a:lnTo>
                  <a:pt x="0" y="768424"/>
                </a:lnTo>
                <a:lnTo>
                  <a:pt x="7632701" y="0"/>
                </a:lnTo>
                <a:lnTo>
                  <a:pt x="7632701" y="3341551"/>
                </a:lnTo>
                <a:lnTo>
                  <a:pt x="7632701" y="4991463"/>
                </a:lnTo>
                <a:lnTo>
                  <a:pt x="7632701" y="5006504"/>
                </a:lnTo>
                <a:lnTo>
                  <a:pt x="0" y="5774928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0" name="Text Placeholder 61">
            <a:extLst>
              <a:ext uri="{FF2B5EF4-FFF2-40B4-BE49-F238E27FC236}">
                <a16:creationId xmlns:a16="http://schemas.microsoft.com/office/drawing/2014/main" id="{2D02F780-5912-428A-9BD7-0A3D8102FA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8999" y="589506"/>
            <a:ext cx="1216800" cy="12168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1" name="Text Placeholder 34">
            <a:extLst>
              <a:ext uri="{FF2B5EF4-FFF2-40B4-BE49-F238E27FC236}">
                <a16:creationId xmlns:a16="http://schemas.microsoft.com/office/drawing/2014/main" id="{F68C68D2-6AA1-4354-AC6D-4CF0689386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3725" y="1897317"/>
            <a:ext cx="3384550" cy="385034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32" name="Text Placeholder 34">
            <a:extLst>
              <a:ext uri="{FF2B5EF4-FFF2-40B4-BE49-F238E27FC236}">
                <a16:creationId xmlns:a16="http://schemas.microsoft.com/office/drawing/2014/main" id="{B2627D31-BA2B-49B5-A7EB-39B12E2328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89468" y="1897317"/>
            <a:ext cx="3335770" cy="385034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graphicFrame>
        <p:nvGraphicFramePr>
          <p:cNvPr id="14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8529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4" imgH="385" progId="TCLayout.ActiveDocument.1">
                  <p:embed/>
                </p:oleObj>
              </mc:Choice>
              <mc:Fallback>
                <p:oleObj name="think-cell Folie" r:id="rId8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Freihandform: Form 22">
            <a:extLst>
              <a:ext uri="{FF2B5EF4-FFF2-40B4-BE49-F238E27FC236}">
                <a16:creationId xmlns:a16="http://schemas.microsoft.com/office/drawing/2014/main" id="{A0D903E6-C44E-4A70-A6AE-FB7D4F2C04E9}"/>
              </a:ext>
            </a:extLst>
          </p:cNvPr>
          <p:cNvSpPr/>
          <p:nvPr userDrawn="1"/>
        </p:nvSpPr>
        <p:spPr>
          <a:xfrm>
            <a:off x="5613395" y="6223371"/>
            <a:ext cx="6578604" cy="634629"/>
          </a:xfrm>
          <a:custGeom>
            <a:avLst/>
            <a:gdLst>
              <a:gd name="connsiteX0" fmla="*/ 6578604 w 6578604"/>
              <a:gd name="connsiteY0" fmla="*/ 0 h 634629"/>
              <a:gd name="connsiteX1" fmla="*/ 6578604 w 6578604"/>
              <a:gd name="connsiteY1" fmla="*/ 581488 h 634629"/>
              <a:gd name="connsiteX2" fmla="*/ 6578604 w 6578604"/>
              <a:gd name="connsiteY2" fmla="*/ 634629 h 634629"/>
              <a:gd name="connsiteX3" fmla="*/ 0 w 6578604"/>
              <a:gd name="connsiteY3" fmla="*/ 634629 h 634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8604" h="634629">
                <a:moveTo>
                  <a:pt x="6578604" y="0"/>
                </a:moveTo>
                <a:lnTo>
                  <a:pt x="6578604" y="581488"/>
                </a:lnTo>
                <a:lnTo>
                  <a:pt x="6578604" y="634629"/>
                </a:lnTo>
                <a:lnTo>
                  <a:pt x="0" y="634629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9" name="Freeform 45">
            <a:extLst>
              <a:ext uri="{FF2B5EF4-FFF2-40B4-BE49-F238E27FC236}">
                <a16:creationId xmlns:a16="http://schemas.microsoft.com/office/drawing/2014/main" id="{D689FEEF-524A-4000-8584-86BE1EBD1742}"/>
              </a:ext>
            </a:extLst>
          </p:cNvPr>
          <p:cNvSpPr/>
          <p:nvPr userDrawn="1"/>
        </p:nvSpPr>
        <p:spPr>
          <a:xfrm rot="10800000">
            <a:off x="4116386" y="878210"/>
            <a:ext cx="7632701" cy="5774928"/>
          </a:xfrm>
          <a:custGeom>
            <a:avLst/>
            <a:gdLst>
              <a:gd name="connsiteX0" fmla="*/ 0 w 7632701"/>
              <a:gd name="connsiteY0" fmla="*/ 5774928 h 5774928"/>
              <a:gd name="connsiteX1" fmla="*/ 0 w 7632701"/>
              <a:gd name="connsiteY1" fmla="*/ 5759887 h 5774928"/>
              <a:gd name="connsiteX2" fmla="*/ 0 w 7632701"/>
              <a:gd name="connsiteY2" fmla="*/ 5699537 h 5774928"/>
              <a:gd name="connsiteX3" fmla="*/ 0 w 7632701"/>
              <a:gd name="connsiteY3" fmla="*/ 5559808 h 5774928"/>
              <a:gd name="connsiteX4" fmla="*/ 0 w 7632701"/>
              <a:gd name="connsiteY4" fmla="*/ 5451748 h 5774928"/>
              <a:gd name="connsiteX5" fmla="*/ 0 w 7632701"/>
              <a:gd name="connsiteY5" fmla="*/ 5393110 h 5774928"/>
              <a:gd name="connsiteX6" fmla="*/ 0 w 7632701"/>
              <a:gd name="connsiteY6" fmla="*/ 5285049 h 5774928"/>
              <a:gd name="connsiteX7" fmla="*/ 0 w 7632701"/>
              <a:gd name="connsiteY7" fmla="*/ 5137540 h 5774928"/>
              <a:gd name="connsiteX8" fmla="*/ 0 w 7632701"/>
              <a:gd name="connsiteY8" fmla="*/ 4109975 h 5774928"/>
              <a:gd name="connsiteX9" fmla="*/ 0 w 7632701"/>
              <a:gd name="connsiteY9" fmla="*/ 3487628 h 5774928"/>
              <a:gd name="connsiteX10" fmla="*/ 0 w 7632701"/>
              <a:gd name="connsiteY10" fmla="*/ 3241878 h 5774928"/>
              <a:gd name="connsiteX11" fmla="*/ 0 w 7632701"/>
              <a:gd name="connsiteY11" fmla="*/ 2832822 h 5774928"/>
              <a:gd name="connsiteX12" fmla="*/ 0 w 7632701"/>
              <a:gd name="connsiteY12" fmla="*/ 2526396 h 5774928"/>
              <a:gd name="connsiteX13" fmla="*/ 0 w 7632701"/>
              <a:gd name="connsiteY13" fmla="*/ 2418336 h 5774928"/>
              <a:gd name="connsiteX14" fmla="*/ 0 w 7632701"/>
              <a:gd name="connsiteY14" fmla="*/ 1591966 h 5774928"/>
              <a:gd name="connsiteX15" fmla="*/ 0 w 7632701"/>
              <a:gd name="connsiteY15" fmla="*/ 1182910 h 5774928"/>
              <a:gd name="connsiteX16" fmla="*/ 0 w 7632701"/>
              <a:gd name="connsiteY16" fmla="*/ 876483 h 5774928"/>
              <a:gd name="connsiteX17" fmla="*/ 0 w 7632701"/>
              <a:gd name="connsiteY17" fmla="*/ 768424 h 5774928"/>
              <a:gd name="connsiteX18" fmla="*/ 7632701 w 7632701"/>
              <a:gd name="connsiteY18" fmla="*/ 0 h 5774928"/>
              <a:gd name="connsiteX19" fmla="*/ 7632701 w 7632701"/>
              <a:gd name="connsiteY19" fmla="*/ 3341551 h 5774928"/>
              <a:gd name="connsiteX20" fmla="*/ 7632701 w 7632701"/>
              <a:gd name="connsiteY20" fmla="*/ 4991463 h 5774928"/>
              <a:gd name="connsiteX21" fmla="*/ 7632701 w 7632701"/>
              <a:gd name="connsiteY21" fmla="*/ 5006504 h 5774928"/>
              <a:gd name="connsiteX22" fmla="*/ 0 w 7632701"/>
              <a:gd name="connsiteY22" fmla="*/ 5774928 h 5774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7632701" h="5774928">
                <a:moveTo>
                  <a:pt x="0" y="5774928"/>
                </a:moveTo>
                <a:lnTo>
                  <a:pt x="0" y="5759887"/>
                </a:lnTo>
                <a:lnTo>
                  <a:pt x="0" y="5699537"/>
                </a:lnTo>
                <a:lnTo>
                  <a:pt x="0" y="5559808"/>
                </a:lnTo>
                <a:lnTo>
                  <a:pt x="0" y="5451748"/>
                </a:lnTo>
                <a:lnTo>
                  <a:pt x="0" y="5393110"/>
                </a:lnTo>
                <a:lnTo>
                  <a:pt x="0" y="5285049"/>
                </a:lnTo>
                <a:lnTo>
                  <a:pt x="0" y="5137540"/>
                </a:lnTo>
                <a:lnTo>
                  <a:pt x="0" y="4109975"/>
                </a:lnTo>
                <a:lnTo>
                  <a:pt x="0" y="3487628"/>
                </a:lnTo>
                <a:lnTo>
                  <a:pt x="0" y="3241878"/>
                </a:lnTo>
                <a:lnTo>
                  <a:pt x="0" y="2832822"/>
                </a:lnTo>
                <a:lnTo>
                  <a:pt x="0" y="2526396"/>
                </a:lnTo>
                <a:lnTo>
                  <a:pt x="0" y="2418336"/>
                </a:lnTo>
                <a:lnTo>
                  <a:pt x="0" y="1591966"/>
                </a:lnTo>
                <a:lnTo>
                  <a:pt x="0" y="1182910"/>
                </a:lnTo>
                <a:lnTo>
                  <a:pt x="0" y="876483"/>
                </a:lnTo>
                <a:lnTo>
                  <a:pt x="0" y="768424"/>
                </a:lnTo>
                <a:lnTo>
                  <a:pt x="7632701" y="0"/>
                </a:lnTo>
                <a:lnTo>
                  <a:pt x="7632701" y="3341551"/>
                </a:lnTo>
                <a:lnTo>
                  <a:pt x="7632701" y="4991463"/>
                </a:lnTo>
                <a:lnTo>
                  <a:pt x="7632701" y="5006504"/>
                </a:lnTo>
                <a:lnTo>
                  <a:pt x="0" y="5774928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5183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87">
          <p15:clr>
            <a:srgbClr val="F26B43"/>
          </p15:clr>
        </p15:guide>
        <p15:guide id="5" pos="4906" userDrawn="1">
          <p15:clr>
            <a:srgbClr val="F26B43"/>
          </p15:clr>
        </p15:guide>
        <p15:guide id="6" pos="2774" userDrawn="1">
          <p15:clr>
            <a:srgbClr val="F26B43"/>
          </p15:clr>
        </p15:guide>
        <p15:guide id="7" orient="horz" pos="1185" userDrawn="1">
          <p15:clr>
            <a:srgbClr val="F26B43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folie // Bild ist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695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CCECD96-025F-4254-A650-7789F608268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4898"/>
          </a:xfrm>
          <a:prstGeom prst="rect">
            <a:avLst/>
          </a:prstGeom>
        </p:spPr>
      </p:pic>
      <p:sp>
        <p:nvSpPr>
          <p:cNvPr id="12" name="Freihandform: Form 14">
            <a:extLst>
              <a:ext uri="{FF2B5EF4-FFF2-40B4-BE49-F238E27FC236}">
                <a16:creationId xmlns:a16="http://schemas.microsoft.com/office/drawing/2014/main" id="{43E90D63-03AB-4F95-A0CD-C046E265DBDA}"/>
              </a:ext>
            </a:extLst>
          </p:cNvPr>
          <p:cNvSpPr/>
          <p:nvPr/>
        </p:nvSpPr>
        <p:spPr>
          <a:xfrm>
            <a:off x="-1" y="3392488"/>
            <a:ext cx="12203429" cy="3465512"/>
          </a:xfrm>
          <a:custGeom>
            <a:avLst/>
            <a:gdLst>
              <a:gd name="connsiteX0" fmla="*/ 12203429 w 12203429"/>
              <a:gd name="connsiteY0" fmla="*/ 0 h 3465512"/>
              <a:gd name="connsiteX1" fmla="*/ 12203429 w 12203429"/>
              <a:gd name="connsiteY1" fmla="*/ 537210 h 3465512"/>
              <a:gd name="connsiteX2" fmla="*/ 12203429 w 12203429"/>
              <a:gd name="connsiteY2" fmla="*/ 3465512 h 3465512"/>
              <a:gd name="connsiteX3" fmla="*/ 0 w 12203429"/>
              <a:gd name="connsiteY3" fmla="*/ 3465512 h 3465512"/>
              <a:gd name="connsiteX4" fmla="*/ 0 w 12203429"/>
              <a:gd name="connsiteY4" fmla="*/ 2438057 h 3465512"/>
              <a:gd name="connsiteX5" fmla="*/ 0 w 12203429"/>
              <a:gd name="connsiteY5" fmla="*/ 1900847 h 3465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03429" h="3465512">
                <a:moveTo>
                  <a:pt x="12203429" y="0"/>
                </a:moveTo>
                <a:lnTo>
                  <a:pt x="12203429" y="537210"/>
                </a:lnTo>
                <a:lnTo>
                  <a:pt x="12203429" y="3465512"/>
                </a:lnTo>
                <a:lnTo>
                  <a:pt x="0" y="3465512"/>
                </a:lnTo>
                <a:lnTo>
                  <a:pt x="0" y="2438057"/>
                </a:lnTo>
                <a:lnTo>
                  <a:pt x="0" y="1900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23E87A98-CC42-4FAA-ACC3-90AA4ECAB8ED}"/>
              </a:ext>
            </a:extLst>
          </p:cNvPr>
          <p:cNvSpPr/>
          <p:nvPr/>
        </p:nvSpPr>
        <p:spPr>
          <a:xfrm>
            <a:off x="8766524" y="4206239"/>
            <a:ext cx="3194306" cy="2648659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01BA83C3-FD58-4EB6-988A-9DE1D8D95186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784" y="6092936"/>
            <a:ext cx="2433209" cy="407523"/>
          </a:xfrm>
          <a:prstGeom prst="rect">
            <a:avLst/>
          </a:prstGeom>
        </p:spPr>
      </p:pic>
      <p:sp>
        <p:nvSpPr>
          <p:cNvPr id="15" name="Rechteck 9">
            <a:extLst>
              <a:ext uri="{FF2B5EF4-FFF2-40B4-BE49-F238E27FC236}">
                <a16:creationId xmlns:a16="http://schemas.microsoft.com/office/drawing/2014/main" id="{4F314B62-78C1-467E-935B-9DC461C1F902}"/>
              </a:ext>
            </a:extLst>
          </p:cNvPr>
          <p:cNvSpPr/>
          <p:nvPr/>
        </p:nvSpPr>
        <p:spPr>
          <a:xfrm>
            <a:off x="7878751" y="534492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Regular"/>
            </a:endParaRPr>
          </a:p>
          <a:p>
            <a:pPr lvl="0" defTabSz="914400">
              <a:defRPr/>
            </a:pPr>
            <a:r>
              <a:rPr lang="de-DE" sz="1600" kern="0" dirty="0">
                <a:solidFill>
                  <a:schemeClr val="bg1"/>
                </a:solidFill>
                <a:latin typeface="Arial Regular"/>
              </a:rPr>
              <a:t>Tel.: 08561 300 68 - 0</a:t>
            </a:r>
            <a:br>
              <a:rPr lang="de-DE" sz="1600" kern="0" dirty="0">
                <a:solidFill>
                  <a:schemeClr val="bg1"/>
                </a:solidFill>
                <a:latin typeface="Arial Regular"/>
              </a:rPr>
            </a:br>
            <a:r>
              <a:rPr lang="de-DE" sz="1600" kern="0" dirty="0">
                <a:solidFill>
                  <a:schemeClr val="bg1"/>
                </a:solidFill>
                <a:latin typeface="Arial Regular"/>
              </a:rPr>
              <a:t>E-Mail: </a:t>
            </a:r>
            <a:r>
              <a:rPr lang="de-DE" sz="1600" kern="0" dirty="0" err="1">
                <a:solidFill>
                  <a:schemeClr val="bg1"/>
                </a:solidFill>
                <a:latin typeface="Arial Regular"/>
              </a:rPr>
              <a:t>info@nextfarming.de</a:t>
            </a:r>
            <a:endParaRPr lang="de-DE" sz="1600" kern="0" dirty="0">
              <a:solidFill>
                <a:schemeClr val="bg1"/>
              </a:solidFill>
              <a:latin typeface="Arial Regular"/>
            </a:endParaRPr>
          </a:p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Regular"/>
            </a:endParaRPr>
          </a:p>
        </p:txBody>
      </p:sp>
      <p:sp>
        <p:nvSpPr>
          <p:cNvPr id="17" name="Rechteck 9">
            <a:extLst>
              <a:ext uri="{FF2B5EF4-FFF2-40B4-BE49-F238E27FC236}">
                <a16:creationId xmlns:a16="http://schemas.microsoft.com/office/drawing/2014/main" id="{24D6C36E-70EA-4A57-873C-7F5B15BB75FE}"/>
              </a:ext>
            </a:extLst>
          </p:cNvPr>
          <p:cNvSpPr/>
          <p:nvPr/>
        </p:nvSpPr>
        <p:spPr>
          <a:xfrm>
            <a:off x="7878751" y="467349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r>
              <a:rPr lang="de-DE" sz="1600" kern="0" dirty="0">
                <a:solidFill>
                  <a:schemeClr val="bg1"/>
                </a:solidFill>
                <a:latin typeface="Arial Regular"/>
              </a:rPr>
              <a:t>Rennbahnstraße 9</a:t>
            </a:r>
            <a:br>
              <a:rPr lang="de-DE" sz="1600" kern="0" dirty="0">
                <a:solidFill>
                  <a:schemeClr val="bg1"/>
                </a:solidFill>
                <a:latin typeface="Arial Regular"/>
              </a:rPr>
            </a:br>
            <a:r>
              <a:rPr lang="de-DE" sz="1600" kern="0" dirty="0">
                <a:solidFill>
                  <a:schemeClr val="bg1"/>
                </a:solidFill>
                <a:latin typeface="Arial Regular"/>
              </a:rPr>
              <a:t>84347 Pfarrkirchen</a:t>
            </a:r>
          </a:p>
        </p:txBody>
      </p:sp>
      <p:sp>
        <p:nvSpPr>
          <p:cNvPr id="18" name="Rechteck 9">
            <a:extLst>
              <a:ext uri="{FF2B5EF4-FFF2-40B4-BE49-F238E27FC236}">
                <a16:creationId xmlns:a16="http://schemas.microsoft.com/office/drawing/2014/main" id="{826C7656-9D82-4B14-992A-49BBA6F819EC}"/>
              </a:ext>
            </a:extLst>
          </p:cNvPr>
          <p:cNvSpPr/>
          <p:nvPr/>
        </p:nvSpPr>
        <p:spPr>
          <a:xfrm>
            <a:off x="7890780" y="589910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Regular"/>
            </a:endParaRPr>
          </a:p>
          <a:p>
            <a:pPr lvl="0" defTabSz="914400">
              <a:defRPr/>
            </a:pPr>
            <a:r>
              <a:rPr lang="de-DE" sz="1600" kern="0" dirty="0" err="1">
                <a:solidFill>
                  <a:schemeClr val="accent1"/>
                </a:solidFill>
                <a:latin typeface="Arial Regular"/>
              </a:rPr>
              <a:t>nextfarming.de</a:t>
            </a:r>
            <a:endParaRPr lang="de-DE" sz="1600" kern="0" dirty="0">
              <a:solidFill>
                <a:schemeClr val="accent1"/>
              </a:solidFill>
              <a:latin typeface="Arial Regular"/>
            </a:endParaRPr>
          </a:p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Regular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9224588" cy="1846659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br>
              <a:rPr lang="de-DE" dirty="0"/>
            </a:br>
            <a:r>
              <a:rPr lang="de-DE" dirty="0"/>
              <a:t>title style</a:t>
            </a:r>
          </a:p>
        </p:txBody>
      </p:sp>
      <p:graphicFrame>
        <p:nvGraphicFramePr>
          <p:cNvPr id="16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7228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84" imgH="385" progId="TCLayout.ActiveDocument.1">
                  <p:embed/>
                </p:oleObj>
              </mc:Choice>
              <mc:Fallback>
                <p:oleObj name="think-cell Folie" r:id="rId10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1" name="Picture 18">
            <a:extLst>
              <a:ext uri="{FF2B5EF4-FFF2-40B4-BE49-F238E27FC236}">
                <a16:creationId xmlns:a16="http://schemas.microsoft.com/office/drawing/2014/main" id="{0CCECD96-025F-4254-A650-7789F60826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4898"/>
          </a:xfrm>
          <a:prstGeom prst="rect">
            <a:avLst/>
          </a:prstGeom>
        </p:spPr>
      </p:pic>
      <p:sp>
        <p:nvSpPr>
          <p:cNvPr id="22" name="Freihandform: Form 14">
            <a:extLst>
              <a:ext uri="{FF2B5EF4-FFF2-40B4-BE49-F238E27FC236}">
                <a16:creationId xmlns:a16="http://schemas.microsoft.com/office/drawing/2014/main" id="{43E90D63-03AB-4F95-A0CD-C046E265DBDA}"/>
              </a:ext>
            </a:extLst>
          </p:cNvPr>
          <p:cNvSpPr/>
          <p:nvPr userDrawn="1"/>
        </p:nvSpPr>
        <p:spPr>
          <a:xfrm>
            <a:off x="-1" y="3392488"/>
            <a:ext cx="12203429" cy="3465512"/>
          </a:xfrm>
          <a:custGeom>
            <a:avLst/>
            <a:gdLst>
              <a:gd name="connsiteX0" fmla="*/ 12203429 w 12203429"/>
              <a:gd name="connsiteY0" fmla="*/ 0 h 3465512"/>
              <a:gd name="connsiteX1" fmla="*/ 12203429 w 12203429"/>
              <a:gd name="connsiteY1" fmla="*/ 537210 h 3465512"/>
              <a:gd name="connsiteX2" fmla="*/ 12203429 w 12203429"/>
              <a:gd name="connsiteY2" fmla="*/ 3465512 h 3465512"/>
              <a:gd name="connsiteX3" fmla="*/ 0 w 12203429"/>
              <a:gd name="connsiteY3" fmla="*/ 3465512 h 3465512"/>
              <a:gd name="connsiteX4" fmla="*/ 0 w 12203429"/>
              <a:gd name="connsiteY4" fmla="*/ 2438057 h 3465512"/>
              <a:gd name="connsiteX5" fmla="*/ 0 w 12203429"/>
              <a:gd name="connsiteY5" fmla="*/ 1900847 h 3465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03429" h="3465512">
                <a:moveTo>
                  <a:pt x="12203429" y="0"/>
                </a:moveTo>
                <a:lnTo>
                  <a:pt x="12203429" y="537210"/>
                </a:lnTo>
                <a:lnTo>
                  <a:pt x="12203429" y="3465512"/>
                </a:lnTo>
                <a:lnTo>
                  <a:pt x="0" y="3465512"/>
                </a:lnTo>
                <a:lnTo>
                  <a:pt x="0" y="2438057"/>
                </a:lnTo>
                <a:lnTo>
                  <a:pt x="0" y="1900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23" name="Freeform 16">
            <a:extLst>
              <a:ext uri="{FF2B5EF4-FFF2-40B4-BE49-F238E27FC236}">
                <a16:creationId xmlns:a16="http://schemas.microsoft.com/office/drawing/2014/main" id="{23E87A98-CC42-4FAA-ACC3-90AA4ECAB8ED}"/>
              </a:ext>
            </a:extLst>
          </p:cNvPr>
          <p:cNvSpPr/>
          <p:nvPr userDrawn="1"/>
        </p:nvSpPr>
        <p:spPr>
          <a:xfrm>
            <a:off x="8766524" y="4206239"/>
            <a:ext cx="3194306" cy="2648659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4" name="Grafik 7">
            <a:extLst>
              <a:ext uri="{FF2B5EF4-FFF2-40B4-BE49-F238E27FC236}">
                <a16:creationId xmlns:a16="http://schemas.microsoft.com/office/drawing/2014/main" id="{01BA83C3-FD58-4EB6-988A-9DE1D8D9518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784" y="6092936"/>
            <a:ext cx="2433209" cy="407523"/>
          </a:xfrm>
          <a:prstGeom prst="rect">
            <a:avLst/>
          </a:prstGeom>
        </p:spPr>
      </p:pic>
      <p:sp>
        <p:nvSpPr>
          <p:cNvPr id="25" name="Rechteck 9">
            <a:extLst>
              <a:ext uri="{FF2B5EF4-FFF2-40B4-BE49-F238E27FC236}">
                <a16:creationId xmlns:a16="http://schemas.microsoft.com/office/drawing/2014/main" id="{4F314B62-78C1-467E-935B-9DC461C1F902}"/>
              </a:ext>
            </a:extLst>
          </p:cNvPr>
          <p:cNvSpPr/>
          <p:nvPr userDrawn="1"/>
        </p:nvSpPr>
        <p:spPr>
          <a:xfrm>
            <a:off x="7878751" y="534492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Regular"/>
            </a:endParaRPr>
          </a:p>
          <a:p>
            <a:pPr lvl="0" defTabSz="914400">
              <a:defRPr/>
            </a:pPr>
            <a:r>
              <a:rPr lang="de-DE" sz="1600" kern="0" dirty="0">
                <a:solidFill>
                  <a:schemeClr val="bg1"/>
                </a:solidFill>
                <a:latin typeface="Arial Regular"/>
              </a:rPr>
              <a:t>Tel.: 08561 300 68 - 0</a:t>
            </a:r>
            <a:br>
              <a:rPr lang="de-DE" sz="1600" kern="0" dirty="0">
                <a:solidFill>
                  <a:schemeClr val="bg1"/>
                </a:solidFill>
                <a:latin typeface="Arial Regular"/>
              </a:rPr>
            </a:br>
            <a:r>
              <a:rPr lang="de-DE" sz="1600" kern="0" dirty="0">
                <a:solidFill>
                  <a:schemeClr val="bg1"/>
                </a:solidFill>
                <a:latin typeface="Arial Regular"/>
              </a:rPr>
              <a:t>E-Mail: </a:t>
            </a:r>
            <a:r>
              <a:rPr lang="de-DE" sz="1600" kern="0" dirty="0" err="1">
                <a:solidFill>
                  <a:schemeClr val="bg1"/>
                </a:solidFill>
                <a:latin typeface="Arial Regular"/>
              </a:rPr>
              <a:t>info@nextfarming.de</a:t>
            </a:r>
            <a:endParaRPr lang="de-DE" sz="1600" kern="0" dirty="0">
              <a:solidFill>
                <a:schemeClr val="bg1"/>
              </a:solidFill>
              <a:latin typeface="Arial Regular"/>
            </a:endParaRPr>
          </a:p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Regular"/>
            </a:endParaRPr>
          </a:p>
        </p:txBody>
      </p:sp>
      <p:sp>
        <p:nvSpPr>
          <p:cNvPr id="26" name="Rechteck 9">
            <a:extLst>
              <a:ext uri="{FF2B5EF4-FFF2-40B4-BE49-F238E27FC236}">
                <a16:creationId xmlns:a16="http://schemas.microsoft.com/office/drawing/2014/main" id="{24D6C36E-70EA-4A57-873C-7F5B15BB75FE}"/>
              </a:ext>
            </a:extLst>
          </p:cNvPr>
          <p:cNvSpPr/>
          <p:nvPr userDrawn="1"/>
        </p:nvSpPr>
        <p:spPr>
          <a:xfrm>
            <a:off x="7878751" y="467349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r>
              <a:rPr lang="de-DE" sz="1600" kern="0" dirty="0">
                <a:solidFill>
                  <a:schemeClr val="bg1"/>
                </a:solidFill>
                <a:latin typeface="Arial Regular"/>
              </a:rPr>
              <a:t>Rennbahnstraße 9</a:t>
            </a:r>
            <a:br>
              <a:rPr lang="de-DE" sz="1600" kern="0" dirty="0">
                <a:solidFill>
                  <a:schemeClr val="bg1"/>
                </a:solidFill>
                <a:latin typeface="Arial Regular"/>
              </a:rPr>
            </a:br>
            <a:r>
              <a:rPr lang="de-DE" sz="1600" kern="0" dirty="0">
                <a:solidFill>
                  <a:schemeClr val="bg1"/>
                </a:solidFill>
                <a:latin typeface="Arial Regular"/>
              </a:rPr>
              <a:t>84347 Pfarrkirchen</a:t>
            </a:r>
          </a:p>
        </p:txBody>
      </p:sp>
      <p:sp>
        <p:nvSpPr>
          <p:cNvPr id="27" name="Rechteck 9">
            <a:extLst>
              <a:ext uri="{FF2B5EF4-FFF2-40B4-BE49-F238E27FC236}">
                <a16:creationId xmlns:a16="http://schemas.microsoft.com/office/drawing/2014/main" id="{826C7656-9D82-4B14-992A-49BBA6F819EC}"/>
              </a:ext>
            </a:extLst>
          </p:cNvPr>
          <p:cNvSpPr/>
          <p:nvPr userDrawn="1"/>
        </p:nvSpPr>
        <p:spPr>
          <a:xfrm>
            <a:off x="7890780" y="589910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Regular"/>
            </a:endParaRPr>
          </a:p>
          <a:p>
            <a:pPr lvl="0" defTabSz="914400">
              <a:defRPr/>
            </a:pPr>
            <a:r>
              <a:rPr lang="de-DE" sz="1600" kern="0" dirty="0" err="1">
                <a:solidFill>
                  <a:schemeClr val="accent1"/>
                </a:solidFill>
                <a:latin typeface="Arial Regular"/>
              </a:rPr>
              <a:t>nextfarming.de</a:t>
            </a:r>
            <a:endParaRPr lang="de-DE" sz="1600" kern="0" dirty="0">
              <a:solidFill>
                <a:schemeClr val="accent1"/>
              </a:solidFill>
              <a:latin typeface="Arial Regular"/>
            </a:endParaRPr>
          </a:p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3058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8" pos="483" userDrawn="1">
          <p15:clr>
            <a:srgbClr val="A4A3A4"/>
          </p15:clr>
        </p15:guide>
        <p15:guide id="9" orient="horz" pos="754" userDrawn="1">
          <p15:clr>
            <a:srgbClr val="A4A3A4"/>
          </p15:clr>
        </p15:guide>
        <p15:guide id="10" orient="horz" pos="640" userDrawn="1">
          <p15:clr>
            <a:srgbClr val="A4A3A4"/>
          </p15:clr>
        </p15:guide>
        <p15:guide id="11" orient="horz" pos="210" userDrawn="1">
          <p15:clr>
            <a:srgbClr val="A4A3A4"/>
          </p15:clr>
        </p15:guide>
        <p15:guide id="12" orient="horz" pos="4065" userDrawn="1">
          <p15:clr>
            <a:srgbClr val="A4A3A4"/>
          </p15:clr>
        </p15:guide>
        <p15:guide id="13" pos="7197" userDrawn="1">
          <p15:clr>
            <a:srgbClr val="A4A3A4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folie // Bildplatzhalt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5019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09D9D87E-83CD-4F57-91C0-AB038C6D26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415088" cy="6858000"/>
          </a:xfrm>
          <a:custGeom>
            <a:avLst/>
            <a:gdLst>
              <a:gd name="connsiteX0" fmla="*/ 0 w 9415088"/>
              <a:gd name="connsiteY0" fmla="*/ 0 h 6858000"/>
              <a:gd name="connsiteX1" fmla="*/ 9415088 w 9415088"/>
              <a:gd name="connsiteY1" fmla="*/ 0 h 6858000"/>
              <a:gd name="connsiteX2" fmla="*/ 6217151 w 9415088"/>
              <a:gd name="connsiteY2" fmla="*/ 6858000 h 6858000"/>
              <a:gd name="connsiteX3" fmla="*/ 0 w 941508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15088" h="6858000">
                <a:moveTo>
                  <a:pt x="0" y="0"/>
                </a:moveTo>
                <a:lnTo>
                  <a:pt x="9415088" y="0"/>
                </a:lnTo>
                <a:lnTo>
                  <a:pt x="621715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0" name="Freeform 16">
            <a:extLst>
              <a:ext uri="{FF2B5EF4-FFF2-40B4-BE49-F238E27FC236}">
                <a16:creationId xmlns:a16="http://schemas.microsoft.com/office/drawing/2014/main" id="{39A11E70-DAD7-40D1-B416-A9A3AE091DAF}"/>
              </a:ext>
            </a:extLst>
          </p:cNvPr>
          <p:cNvSpPr/>
          <p:nvPr/>
        </p:nvSpPr>
        <p:spPr>
          <a:xfrm>
            <a:off x="8766524" y="4206239"/>
            <a:ext cx="3194306" cy="2648659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tx1"/>
              </a:solidFill>
            </a:endParaRPr>
          </a:p>
        </p:txBody>
      </p:sp>
      <p:sp>
        <p:nvSpPr>
          <p:cNvPr id="21" name="Rechteck 9">
            <a:extLst>
              <a:ext uri="{FF2B5EF4-FFF2-40B4-BE49-F238E27FC236}">
                <a16:creationId xmlns:a16="http://schemas.microsoft.com/office/drawing/2014/main" id="{B5143025-2493-4286-B28D-5D316F4CC15F}"/>
              </a:ext>
            </a:extLst>
          </p:cNvPr>
          <p:cNvSpPr/>
          <p:nvPr/>
        </p:nvSpPr>
        <p:spPr>
          <a:xfrm>
            <a:off x="7878751" y="534492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Regular"/>
            </a:endParaRPr>
          </a:p>
          <a:p>
            <a:pPr lvl="0" defTabSz="914400">
              <a:defRPr/>
            </a:pPr>
            <a:r>
              <a:rPr lang="de-DE" sz="1600" kern="0" dirty="0">
                <a:solidFill>
                  <a:schemeClr val="tx1"/>
                </a:solidFill>
                <a:latin typeface="Arial Regular"/>
              </a:rPr>
              <a:t>Tel.: 08561 300 68 - 0</a:t>
            </a:r>
            <a:br>
              <a:rPr lang="de-DE" sz="1600" kern="0" dirty="0">
                <a:solidFill>
                  <a:schemeClr val="tx1"/>
                </a:solidFill>
                <a:latin typeface="Arial Regular"/>
              </a:rPr>
            </a:br>
            <a:r>
              <a:rPr lang="de-DE" sz="1600" kern="0" dirty="0">
                <a:solidFill>
                  <a:schemeClr val="tx1"/>
                </a:solidFill>
                <a:latin typeface="Arial Regular"/>
              </a:rPr>
              <a:t>E-Mail: </a:t>
            </a:r>
            <a:r>
              <a:rPr lang="de-DE" sz="1600" kern="0" dirty="0" err="1">
                <a:solidFill>
                  <a:schemeClr val="tx1"/>
                </a:solidFill>
                <a:latin typeface="Arial Regular"/>
              </a:rPr>
              <a:t>info@nextfarming.de</a:t>
            </a:r>
            <a:endParaRPr lang="de-DE" sz="1600" kern="0" dirty="0">
              <a:solidFill>
                <a:schemeClr val="tx1"/>
              </a:solidFill>
              <a:latin typeface="Arial Regular"/>
            </a:endParaRPr>
          </a:p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Regular"/>
            </a:endParaRPr>
          </a:p>
        </p:txBody>
      </p:sp>
      <p:sp>
        <p:nvSpPr>
          <p:cNvPr id="22" name="Rechteck 9">
            <a:extLst>
              <a:ext uri="{FF2B5EF4-FFF2-40B4-BE49-F238E27FC236}">
                <a16:creationId xmlns:a16="http://schemas.microsoft.com/office/drawing/2014/main" id="{73C0424B-5F9D-49C6-9DFD-78AE93DFFC19}"/>
              </a:ext>
            </a:extLst>
          </p:cNvPr>
          <p:cNvSpPr/>
          <p:nvPr/>
        </p:nvSpPr>
        <p:spPr>
          <a:xfrm>
            <a:off x="7878751" y="467349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r>
              <a:rPr lang="de-DE" sz="1600" kern="0" dirty="0">
                <a:solidFill>
                  <a:schemeClr val="tx1"/>
                </a:solidFill>
                <a:latin typeface="Arial Regular"/>
              </a:rPr>
              <a:t>Rennbahnstraße 9</a:t>
            </a:r>
            <a:br>
              <a:rPr lang="de-DE" sz="1600" kern="0" dirty="0">
                <a:solidFill>
                  <a:schemeClr val="tx1"/>
                </a:solidFill>
                <a:latin typeface="Arial Regular"/>
              </a:rPr>
            </a:br>
            <a:r>
              <a:rPr lang="de-DE" sz="1600" kern="0" dirty="0">
                <a:solidFill>
                  <a:schemeClr val="tx1"/>
                </a:solidFill>
                <a:latin typeface="Arial Regular"/>
              </a:rPr>
              <a:t>84347 Pfarrkirchen</a:t>
            </a:r>
          </a:p>
        </p:txBody>
      </p:sp>
      <p:sp>
        <p:nvSpPr>
          <p:cNvPr id="23" name="Rechteck 9">
            <a:extLst>
              <a:ext uri="{FF2B5EF4-FFF2-40B4-BE49-F238E27FC236}">
                <a16:creationId xmlns:a16="http://schemas.microsoft.com/office/drawing/2014/main" id="{6F212A99-82CE-43A9-BBB0-69DA270EB569}"/>
              </a:ext>
            </a:extLst>
          </p:cNvPr>
          <p:cNvSpPr/>
          <p:nvPr/>
        </p:nvSpPr>
        <p:spPr>
          <a:xfrm>
            <a:off x="7890780" y="589910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Regular"/>
            </a:endParaRPr>
          </a:p>
          <a:p>
            <a:pPr lvl="0" defTabSz="914400">
              <a:defRPr/>
            </a:pPr>
            <a:r>
              <a:rPr lang="de-DE" sz="1600" kern="0" dirty="0" err="1">
                <a:solidFill>
                  <a:schemeClr val="accent1"/>
                </a:solidFill>
                <a:latin typeface="Arial Regular"/>
              </a:rPr>
              <a:t>nextfarming.de</a:t>
            </a:r>
            <a:endParaRPr lang="de-DE" sz="1600" kern="0" dirty="0">
              <a:solidFill>
                <a:schemeClr val="accent1"/>
              </a:solidFill>
              <a:latin typeface="Arial Regular"/>
            </a:endParaRPr>
          </a:p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Regular"/>
            </a:endParaRPr>
          </a:p>
        </p:txBody>
      </p:sp>
      <p:pic>
        <p:nvPicPr>
          <p:cNvPr id="24" name="Grafik 7">
            <a:extLst>
              <a:ext uri="{FF2B5EF4-FFF2-40B4-BE49-F238E27FC236}">
                <a16:creationId xmlns:a16="http://schemas.microsoft.com/office/drawing/2014/main" id="{9E1E5A2C-E031-4C09-A410-64D0BD36410C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7663" y="4014254"/>
            <a:ext cx="3349625" cy="561008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3920499"/>
            <a:ext cx="5814432" cy="1846659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br>
              <a:rPr lang="de-DE" dirty="0"/>
            </a:br>
            <a:r>
              <a:rPr lang="de-DE" dirty="0"/>
              <a:t>title style</a:t>
            </a:r>
          </a:p>
        </p:txBody>
      </p:sp>
      <p:graphicFrame>
        <p:nvGraphicFramePr>
          <p:cNvPr id="12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58584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84" imgH="385" progId="TCLayout.ActiveDocument.1">
                  <p:embed/>
                </p:oleObj>
              </mc:Choice>
              <mc:Fallback>
                <p:oleObj name="think-cell Folie" r:id="rId9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Freeform 16">
            <a:extLst>
              <a:ext uri="{FF2B5EF4-FFF2-40B4-BE49-F238E27FC236}">
                <a16:creationId xmlns:a16="http://schemas.microsoft.com/office/drawing/2014/main" id="{39A11E70-DAD7-40D1-B416-A9A3AE091DAF}"/>
              </a:ext>
            </a:extLst>
          </p:cNvPr>
          <p:cNvSpPr/>
          <p:nvPr userDrawn="1"/>
        </p:nvSpPr>
        <p:spPr>
          <a:xfrm>
            <a:off x="8766524" y="4206239"/>
            <a:ext cx="3194306" cy="2648659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tx1"/>
              </a:solidFill>
            </a:endParaRPr>
          </a:p>
        </p:txBody>
      </p:sp>
      <p:sp>
        <p:nvSpPr>
          <p:cNvPr id="16" name="Rechteck 9">
            <a:extLst>
              <a:ext uri="{FF2B5EF4-FFF2-40B4-BE49-F238E27FC236}">
                <a16:creationId xmlns:a16="http://schemas.microsoft.com/office/drawing/2014/main" id="{B5143025-2493-4286-B28D-5D316F4CC15F}"/>
              </a:ext>
            </a:extLst>
          </p:cNvPr>
          <p:cNvSpPr/>
          <p:nvPr userDrawn="1"/>
        </p:nvSpPr>
        <p:spPr>
          <a:xfrm>
            <a:off x="7878751" y="534492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Regular"/>
            </a:endParaRPr>
          </a:p>
          <a:p>
            <a:pPr lvl="0" defTabSz="914400">
              <a:defRPr/>
            </a:pPr>
            <a:r>
              <a:rPr lang="de-DE" sz="1600" kern="0" dirty="0">
                <a:solidFill>
                  <a:schemeClr val="tx1"/>
                </a:solidFill>
                <a:latin typeface="Arial Regular"/>
              </a:rPr>
              <a:t>Tel.: 08561 300 68 - 0</a:t>
            </a:r>
            <a:br>
              <a:rPr lang="de-DE" sz="1600" kern="0" dirty="0">
                <a:solidFill>
                  <a:schemeClr val="tx1"/>
                </a:solidFill>
                <a:latin typeface="Arial Regular"/>
              </a:rPr>
            </a:br>
            <a:r>
              <a:rPr lang="de-DE" sz="1600" kern="0" dirty="0">
                <a:solidFill>
                  <a:schemeClr val="tx1"/>
                </a:solidFill>
                <a:latin typeface="Arial Regular"/>
              </a:rPr>
              <a:t>E-Mail: </a:t>
            </a:r>
            <a:r>
              <a:rPr lang="de-DE" sz="1600" kern="0" dirty="0" err="1">
                <a:solidFill>
                  <a:schemeClr val="tx1"/>
                </a:solidFill>
                <a:latin typeface="Arial Regular"/>
              </a:rPr>
              <a:t>info@nextfarming.de</a:t>
            </a:r>
            <a:endParaRPr lang="de-DE" sz="1600" kern="0" dirty="0">
              <a:solidFill>
                <a:schemeClr val="tx1"/>
              </a:solidFill>
              <a:latin typeface="Arial Regular"/>
            </a:endParaRPr>
          </a:p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Regular"/>
            </a:endParaRPr>
          </a:p>
        </p:txBody>
      </p:sp>
      <p:sp>
        <p:nvSpPr>
          <p:cNvPr id="17" name="Rechteck 9">
            <a:extLst>
              <a:ext uri="{FF2B5EF4-FFF2-40B4-BE49-F238E27FC236}">
                <a16:creationId xmlns:a16="http://schemas.microsoft.com/office/drawing/2014/main" id="{73C0424B-5F9D-49C6-9DFD-78AE93DFFC19}"/>
              </a:ext>
            </a:extLst>
          </p:cNvPr>
          <p:cNvSpPr/>
          <p:nvPr userDrawn="1"/>
        </p:nvSpPr>
        <p:spPr>
          <a:xfrm>
            <a:off x="7878751" y="467349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r>
              <a:rPr lang="de-DE" sz="1600" kern="0" dirty="0">
                <a:solidFill>
                  <a:schemeClr val="tx1"/>
                </a:solidFill>
                <a:latin typeface="Arial Regular"/>
              </a:rPr>
              <a:t>Rennbahnstraße 9</a:t>
            </a:r>
            <a:br>
              <a:rPr lang="de-DE" sz="1600" kern="0" dirty="0">
                <a:solidFill>
                  <a:schemeClr val="tx1"/>
                </a:solidFill>
                <a:latin typeface="Arial Regular"/>
              </a:rPr>
            </a:br>
            <a:r>
              <a:rPr lang="de-DE" sz="1600" kern="0" dirty="0">
                <a:solidFill>
                  <a:schemeClr val="tx1"/>
                </a:solidFill>
                <a:latin typeface="Arial Regular"/>
              </a:rPr>
              <a:t>84347 Pfarrkirchen</a:t>
            </a:r>
          </a:p>
        </p:txBody>
      </p:sp>
      <p:sp>
        <p:nvSpPr>
          <p:cNvPr id="18" name="Rechteck 9">
            <a:extLst>
              <a:ext uri="{FF2B5EF4-FFF2-40B4-BE49-F238E27FC236}">
                <a16:creationId xmlns:a16="http://schemas.microsoft.com/office/drawing/2014/main" id="{6F212A99-82CE-43A9-BBB0-69DA270EB569}"/>
              </a:ext>
            </a:extLst>
          </p:cNvPr>
          <p:cNvSpPr/>
          <p:nvPr userDrawn="1"/>
        </p:nvSpPr>
        <p:spPr>
          <a:xfrm>
            <a:off x="7890780" y="589910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Regular"/>
            </a:endParaRPr>
          </a:p>
          <a:p>
            <a:pPr lvl="0" defTabSz="914400">
              <a:defRPr/>
            </a:pPr>
            <a:r>
              <a:rPr lang="de-DE" sz="1600" kern="0" dirty="0" err="1">
                <a:solidFill>
                  <a:schemeClr val="accent1"/>
                </a:solidFill>
                <a:latin typeface="Arial Regular"/>
              </a:rPr>
              <a:t>nextfarming.de</a:t>
            </a:r>
            <a:endParaRPr lang="de-DE" sz="1600" kern="0" dirty="0">
              <a:solidFill>
                <a:schemeClr val="accent1"/>
              </a:solidFill>
              <a:latin typeface="Arial Regular"/>
            </a:endParaRPr>
          </a:p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Regular"/>
            </a:endParaRPr>
          </a:p>
        </p:txBody>
      </p:sp>
      <p:pic>
        <p:nvPicPr>
          <p:cNvPr id="19" name="Grafik 7">
            <a:extLst>
              <a:ext uri="{FF2B5EF4-FFF2-40B4-BE49-F238E27FC236}">
                <a16:creationId xmlns:a16="http://schemas.microsoft.com/office/drawing/2014/main" id="{9E1E5A2C-E031-4C09-A410-64D0BD36410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7663" y="4014254"/>
            <a:ext cx="3349625" cy="561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5918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8" pos="483" userDrawn="1">
          <p15:clr>
            <a:srgbClr val="A4A3A4"/>
          </p15:clr>
        </p15:guide>
        <p15:guide id="9" orient="horz" pos="754" userDrawn="1">
          <p15:clr>
            <a:srgbClr val="A4A3A4"/>
          </p15:clr>
        </p15:guide>
        <p15:guide id="10" orient="horz" pos="640" userDrawn="1">
          <p15:clr>
            <a:srgbClr val="A4A3A4"/>
          </p15:clr>
        </p15:guide>
        <p15:guide id="11" orient="horz" pos="210" userDrawn="1">
          <p15:clr>
            <a:srgbClr val="A4A3A4"/>
          </p15:clr>
        </p15:guide>
        <p15:guide id="12" orient="horz" pos="4065" userDrawn="1">
          <p15:clr>
            <a:srgbClr val="A4A3A4"/>
          </p15:clr>
        </p15:guide>
        <p15:guide id="13" pos="7197" userDrawn="1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//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652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Rechteck 9">
            <a:extLst>
              <a:ext uri="{FF2B5EF4-FFF2-40B4-BE49-F238E27FC236}">
                <a16:creationId xmlns:a16="http://schemas.microsoft.com/office/drawing/2014/main" id="{FAF66208-BE51-4383-B61E-7C1B1F88E877}"/>
              </a:ext>
            </a:extLst>
          </p:cNvPr>
          <p:cNvSpPr/>
          <p:nvPr userDrawn="1"/>
        </p:nvSpPr>
        <p:spPr>
          <a:xfrm>
            <a:off x="353291" y="336550"/>
            <a:ext cx="11485419" cy="618807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lang="de-DE" kern="0" dirty="0">
              <a:solidFill>
                <a:srgbClr val="FFFFFF"/>
              </a:solidFill>
              <a:latin typeface="Arial Regular"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563CB5D8-D2C9-495A-93FD-C17AF9B306F0}"/>
              </a:ext>
            </a:extLst>
          </p:cNvPr>
          <p:cNvSpPr/>
          <p:nvPr userDrawn="1"/>
        </p:nvSpPr>
        <p:spPr>
          <a:xfrm>
            <a:off x="8475451" y="3886646"/>
            <a:ext cx="3194306" cy="2648659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chemeClr val="bg1">
              <a:alpha val="23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A57404-7CC7-4DE1-B6B1-1CE4EC33F2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92413" y="2815748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3200" kern="100" spc="0" baseline="0">
                <a:solidFill>
                  <a:schemeClr val="bg1"/>
                </a:solidFill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9442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A4A3A4"/>
          </p15:clr>
        </p15:guide>
        <p15:guide id="2" pos="483" userDrawn="1">
          <p15:clr>
            <a:srgbClr val="A4A3A4"/>
          </p15:clr>
        </p15:guide>
        <p15:guide id="4" orient="horz" pos="754" userDrawn="1">
          <p15:clr>
            <a:srgbClr val="A4A3A4"/>
          </p15:clr>
        </p15:guide>
        <p15:guide id="5" orient="horz" pos="64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  <p15:guide id="8" orient="horz" pos="4110" userDrawn="1">
          <p15:clr>
            <a:srgbClr val="F26B43"/>
          </p15:clr>
        </p15:guide>
        <p15:guide id="9" pos="226" userDrawn="1">
          <p15:clr>
            <a:srgbClr val="F26B43"/>
          </p15:clr>
        </p15:guide>
        <p15:guide id="10" pos="7452" userDrawn="1">
          <p15:clr>
            <a:srgbClr val="F26B43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32608B-3578-4508-935F-E7D3A153A5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2192000" cy="6858001"/>
          </a:xfrm>
          <a:custGeom>
            <a:avLst/>
            <a:gdLst>
              <a:gd name="connsiteX0" fmla="*/ 0 w 18288000"/>
              <a:gd name="connsiteY0" fmla="*/ 0 h 10287001"/>
              <a:gd name="connsiteX1" fmla="*/ 18288000 w 18288000"/>
              <a:gd name="connsiteY1" fmla="*/ 0 h 10287001"/>
              <a:gd name="connsiteX2" fmla="*/ 18288000 w 18288000"/>
              <a:gd name="connsiteY2" fmla="*/ 10287001 h 10287001"/>
              <a:gd name="connsiteX3" fmla="*/ 0 w 18288000"/>
              <a:gd name="connsiteY3" fmla="*/ 10287001 h 10287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288000" h="10287001">
                <a:moveTo>
                  <a:pt x="0" y="0"/>
                </a:moveTo>
                <a:lnTo>
                  <a:pt x="18288000" y="0"/>
                </a:lnTo>
                <a:lnTo>
                  <a:pt x="18288000" y="10287001"/>
                </a:lnTo>
                <a:lnTo>
                  <a:pt x="0" y="10287001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B05BB41-D3AD-564D-B399-5B341E1DF8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90792" y="463588"/>
            <a:ext cx="1014591" cy="168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720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50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slideLayout" Target="../slideLayouts/slideLayout71.xml"/><Relationship Id="rId39" Type="http://schemas.openxmlformats.org/officeDocument/2006/relationships/slideLayout" Target="../slideLayouts/slideLayout84.xml"/><Relationship Id="rId21" Type="http://schemas.openxmlformats.org/officeDocument/2006/relationships/slideLayout" Target="../slideLayouts/slideLayout66.xml"/><Relationship Id="rId34" Type="http://schemas.openxmlformats.org/officeDocument/2006/relationships/slideLayout" Target="../slideLayouts/slideLayout79.xml"/><Relationship Id="rId42" Type="http://schemas.openxmlformats.org/officeDocument/2006/relationships/slideLayout" Target="../slideLayouts/slideLayout87.xml"/><Relationship Id="rId47" Type="http://schemas.openxmlformats.org/officeDocument/2006/relationships/tags" Target="../tags/tag94.xml"/><Relationship Id="rId50" Type="http://schemas.openxmlformats.org/officeDocument/2006/relationships/tags" Target="../tags/tag97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9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32" Type="http://schemas.openxmlformats.org/officeDocument/2006/relationships/slideLayout" Target="../slideLayouts/slideLayout77.xml"/><Relationship Id="rId37" Type="http://schemas.openxmlformats.org/officeDocument/2006/relationships/slideLayout" Target="../slideLayouts/slideLayout82.xml"/><Relationship Id="rId40" Type="http://schemas.openxmlformats.org/officeDocument/2006/relationships/slideLayout" Target="../slideLayouts/slideLayout85.xml"/><Relationship Id="rId45" Type="http://schemas.openxmlformats.org/officeDocument/2006/relationships/slideLayout" Target="../slideLayouts/slideLayout90.xml"/><Relationship Id="rId53" Type="http://schemas.openxmlformats.org/officeDocument/2006/relationships/oleObject" Target="../embeddings/oleObject46.bin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31" Type="http://schemas.openxmlformats.org/officeDocument/2006/relationships/slideLayout" Target="../slideLayouts/slideLayout76.xml"/><Relationship Id="rId44" Type="http://schemas.openxmlformats.org/officeDocument/2006/relationships/slideLayout" Target="../slideLayouts/slideLayout89.xml"/><Relationship Id="rId52" Type="http://schemas.openxmlformats.org/officeDocument/2006/relationships/tags" Target="../tags/tag99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slideLayout" Target="../slideLayouts/slideLayout72.xml"/><Relationship Id="rId30" Type="http://schemas.openxmlformats.org/officeDocument/2006/relationships/slideLayout" Target="../slideLayouts/slideLayout75.xml"/><Relationship Id="rId35" Type="http://schemas.openxmlformats.org/officeDocument/2006/relationships/slideLayout" Target="../slideLayouts/slideLayout80.xml"/><Relationship Id="rId43" Type="http://schemas.openxmlformats.org/officeDocument/2006/relationships/slideLayout" Target="../slideLayouts/slideLayout88.xml"/><Relationship Id="rId48" Type="http://schemas.openxmlformats.org/officeDocument/2006/relationships/tags" Target="../tags/tag95.xml"/><Relationship Id="rId56" Type="http://schemas.openxmlformats.org/officeDocument/2006/relationships/image" Target="../media/image2.png"/><Relationship Id="rId8" Type="http://schemas.openxmlformats.org/officeDocument/2006/relationships/slideLayout" Target="../slideLayouts/slideLayout53.xml"/><Relationship Id="rId51" Type="http://schemas.openxmlformats.org/officeDocument/2006/relationships/tags" Target="../tags/tag98.xml"/><Relationship Id="rId3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33" Type="http://schemas.openxmlformats.org/officeDocument/2006/relationships/slideLayout" Target="../slideLayouts/slideLayout78.xml"/><Relationship Id="rId38" Type="http://schemas.openxmlformats.org/officeDocument/2006/relationships/slideLayout" Target="../slideLayouts/slideLayout83.xml"/><Relationship Id="rId46" Type="http://schemas.openxmlformats.org/officeDocument/2006/relationships/theme" Target="../theme/theme2.xml"/><Relationship Id="rId20" Type="http://schemas.openxmlformats.org/officeDocument/2006/relationships/slideLayout" Target="../slideLayouts/slideLayout65.xml"/><Relationship Id="rId41" Type="http://schemas.openxmlformats.org/officeDocument/2006/relationships/slideLayout" Target="../slideLayouts/slideLayout86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slideLayout" Target="../slideLayouts/slideLayout73.xml"/><Relationship Id="rId36" Type="http://schemas.openxmlformats.org/officeDocument/2006/relationships/slideLayout" Target="../slideLayouts/slideLayout81.xml"/><Relationship Id="rId49" Type="http://schemas.openxmlformats.org/officeDocument/2006/relationships/tags" Target="../tags/tag9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0E0C0A1-9375-4F36-B71D-95DD66E97E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4113514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0" imgW="473" imgH="476" progId="TCLayout.ActiveDocument.1">
                  <p:embed/>
                </p:oleObj>
              </mc:Choice>
              <mc:Fallback>
                <p:oleObj name="think-cell Folie" r:id="rId50" imgW="473" imgH="47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0E0C0A1-9375-4F36-B71D-95DD66E97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D4D0082-41DB-43CC-9120-28B10235E010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Aft>
                <a:spcPts val="1200"/>
              </a:spcAft>
            </a:pPr>
            <a:endParaRPr lang="de-DE" sz="2000" b="0" i="0" kern="600" spc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DEAAE901-054D-41AA-B6A8-B0DE66A43531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25DFA70-0488-4795-A917-E980F8210260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1" name="Freeform 18">
              <a:extLst>
                <a:ext uri="{FF2B5EF4-FFF2-40B4-BE49-F238E27FC236}">
                  <a16:creationId xmlns:a16="http://schemas.microsoft.com/office/drawing/2014/main" id="{19EA8786-E979-42F3-A5BB-26AF6CF9C602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57">
              <a:extLst>
                <a:ext uri="{FF2B5EF4-FFF2-40B4-BE49-F238E27FC236}">
                  <a16:creationId xmlns:a16="http://schemas.microsoft.com/office/drawing/2014/main" id="{9DC62BE5-38F4-491A-A8B5-17BBD1C36C3B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noProof="0">
                <a:solidFill>
                  <a:schemeClr val="bg1"/>
                </a:solidFill>
              </a:endParaRPr>
            </a:p>
          </p:txBody>
        </p:sp>
      </p:grp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F5271990-9DBD-4A7E-9EAB-D14ED5AB65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33692"/>
            <a:ext cx="10658475" cy="680356"/>
          </a:xfrm>
          <a:prstGeom prst="rect">
            <a:avLst/>
          </a:prstGeom>
          <a:noFill/>
        </p:spPr>
        <p:txBody>
          <a:bodyPr vert="horz" wrap="square" lIns="144000" tIns="0" rIns="144000" bIns="0" rtlCol="0" anchor="ctr">
            <a:normAutofit/>
          </a:bodyPr>
          <a:lstStyle/>
          <a:p>
            <a:r>
              <a:rPr lang="de-DE" noProof="0"/>
              <a:t>Titel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59B4537D-9875-4949-B8E3-5C5D65F896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6763" y="6510334"/>
            <a:ext cx="187552" cy="246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E6101334-2212-47E5-96F0-086CB39DE767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3" name="Footer Placeholder 22">
            <a:extLst>
              <a:ext uri="{FF2B5EF4-FFF2-40B4-BE49-F238E27FC236}">
                <a16:creationId xmlns:a16="http://schemas.microsoft.com/office/drawing/2014/main" id="{738C50A1-844A-4A6E-A7A4-153602C530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70509" y="6511755"/>
            <a:ext cx="7526083" cy="244800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l">
              <a:defRPr sz="800"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Abteilung | Verfasser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681A92B-F880-459D-A1CB-D2A6791E0F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3" y="1196974"/>
            <a:ext cx="10658475" cy="52562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de-DE" noProof="0" dirty="0"/>
              <a:t>Ebene 1</a:t>
            </a:r>
          </a:p>
          <a:p>
            <a:pPr lvl="1"/>
            <a:r>
              <a:rPr lang="de-DE" noProof="0" dirty="0"/>
              <a:t>Ebene 2</a:t>
            </a:r>
          </a:p>
          <a:p>
            <a:pPr lvl="2"/>
            <a:r>
              <a:rPr lang="de-DE" noProof="0" dirty="0"/>
              <a:t>Ebene 3</a:t>
            </a:r>
          </a:p>
          <a:p>
            <a:pPr lvl="3"/>
            <a:r>
              <a:rPr lang="de-DE" noProof="0" dirty="0"/>
              <a:t>Ebene 4</a:t>
            </a:r>
          </a:p>
          <a:p>
            <a:pPr lvl="4"/>
            <a:r>
              <a:rPr lang="de-DE" noProof="0" dirty="0"/>
              <a:t>Ebene 5</a:t>
            </a:r>
          </a:p>
        </p:txBody>
      </p:sp>
    </p:spTree>
    <p:extLst>
      <p:ext uri="{BB962C8B-B14F-4D97-AF65-F5344CB8AC3E}">
        <p14:creationId xmlns:p14="http://schemas.microsoft.com/office/powerpoint/2010/main" val="3306566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92" r:id="rId2"/>
    <p:sldLayoutId id="2147483964" r:id="rId3"/>
    <p:sldLayoutId id="2147483965" r:id="rId4"/>
    <p:sldLayoutId id="2147483997" r:id="rId5"/>
    <p:sldLayoutId id="2147483998" r:id="rId6"/>
    <p:sldLayoutId id="2147483972" r:id="rId7"/>
    <p:sldLayoutId id="2147483973" r:id="rId8"/>
    <p:sldLayoutId id="2147483969" r:id="rId9"/>
    <p:sldLayoutId id="2147483970" r:id="rId10"/>
    <p:sldLayoutId id="2147483971" r:id="rId11"/>
    <p:sldLayoutId id="2147483984" r:id="rId12"/>
    <p:sldLayoutId id="2147483985" r:id="rId13"/>
    <p:sldLayoutId id="2147483947" r:id="rId14"/>
    <p:sldLayoutId id="2147483948" r:id="rId15"/>
    <p:sldLayoutId id="2147483951" r:id="rId16"/>
    <p:sldLayoutId id="2147483959" r:id="rId17"/>
    <p:sldLayoutId id="2147483952" r:id="rId18"/>
    <p:sldLayoutId id="2147483953" r:id="rId19"/>
    <p:sldLayoutId id="2147483954" r:id="rId20"/>
    <p:sldLayoutId id="2147483960" r:id="rId21"/>
    <p:sldLayoutId id="2147483961" r:id="rId22"/>
    <p:sldLayoutId id="2147483962" r:id="rId23"/>
    <p:sldLayoutId id="2147483949" r:id="rId24"/>
    <p:sldLayoutId id="2147483950" r:id="rId25"/>
    <p:sldLayoutId id="2147483955" r:id="rId26"/>
    <p:sldLayoutId id="2147483956" r:id="rId27"/>
    <p:sldLayoutId id="2147483957" r:id="rId28"/>
    <p:sldLayoutId id="2147483958" r:id="rId29"/>
    <p:sldLayoutId id="2147483987" r:id="rId30"/>
    <p:sldLayoutId id="2147483974" r:id="rId31"/>
    <p:sldLayoutId id="2147483982" r:id="rId32"/>
    <p:sldLayoutId id="2147483988" r:id="rId33"/>
    <p:sldLayoutId id="2147483989" r:id="rId34"/>
    <p:sldLayoutId id="2147483990" r:id="rId35"/>
    <p:sldLayoutId id="2147483991" r:id="rId36"/>
    <p:sldLayoutId id="2147483975" r:id="rId37"/>
    <p:sldLayoutId id="2147483976" r:id="rId38"/>
    <p:sldLayoutId id="2147483977" r:id="rId39"/>
    <p:sldLayoutId id="2147483979" r:id="rId40"/>
    <p:sldLayoutId id="2147483980" r:id="rId41"/>
    <p:sldLayoutId id="2147483981" r:id="rId42"/>
    <p:sldLayoutId id="2147483967" r:id="rId43"/>
    <p:sldLayoutId id="2147483968" r:id="rId44"/>
    <p:sldLayoutId id="2147483999" r:id="rId4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8775" indent="-35877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&gt;"/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bg1">
            <a:lumMod val="65000"/>
          </a:schemeClr>
        </a:buClr>
        <a:buFont typeface="Arial" panose="020B0604020202020204" pitchFamily="34" charset="0"/>
        <a:buChar char="&gt;"/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360363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SzPct val="150000"/>
        <a:buFontTx/>
        <a:buBlip>
          <a:blip r:embed="rId52"/>
        </a:buBlip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b="1" kern="600" cap="none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kern="600" spc="40" baseline="0">
          <a:solidFill>
            <a:schemeClr val="accent6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65" userDrawn="1">
          <p15:clr>
            <a:srgbClr val="F26B43"/>
          </p15:clr>
        </p15:guide>
        <p15:guide id="2" pos="483" userDrawn="1">
          <p15:clr>
            <a:srgbClr val="F26B43"/>
          </p15:clr>
        </p15:guide>
        <p15:guide id="3" pos="7197" userDrawn="1">
          <p15:clr>
            <a:srgbClr val="F26B43"/>
          </p15:clr>
        </p15:guide>
        <p15:guide id="4" orient="horz" pos="754" userDrawn="1">
          <p15:clr>
            <a:srgbClr val="F26B43"/>
          </p15:clr>
        </p15:guide>
        <p15:guide id="5" orient="horz" pos="210" userDrawn="1">
          <p15:clr>
            <a:srgbClr val="F26B43"/>
          </p15:clr>
        </p15:guide>
        <p15:guide id="6" orient="horz" pos="6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0E0C0A1-9375-4F36-B71D-95DD66E97E48}"/>
              </a:ext>
            </a:extLst>
          </p:cNvPr>
          <p:cNvGraphicFramePr>
            <a:graphicFrameLocks noChangeAspect="1"/>
          </p:cNvGraphicFramePr>
          <p:nvPr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3523779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3" imgW="473" imgH="476" progId="TCLayout.ActiveDocument.1">
                  <p:embed/>
                </p:oleObj>
              </mc:Choice>
              <mc:Fallback>
                <p:oleObj name="think-cell Folie" r:id="rId53" imgW="473" imgH="47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0E0C0A1-9375-4F36-B71D-95DD66E97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D4D0082-41DB-43CC-9120-28B10235E010}"/>
              </a:ext>
            </a:extLst>
          </p:cNvPr>
          <p:cNvSpPr/>
          <p:nvPr>
            <p:custDataLst>
              <p:tags r:id="rId4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Aft>
                <a:spcPts val="1200"/>
              </a:spcAft>
            </a:pPr>
            <a:endParaRPr lang="de-DE" sz="2000" b="0" i="0" kern="600" spc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DEAAE901-054D-41AA-B6A8-B0DE66A43531}"/>
              </a:ext>
            </a:extLst>
          </p:cNvPr>
          <p:cNvSpPr/>
          <p:nvPr>
            <p:custDataLst>
              <p:tags r:id="rId4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25DFA70-0488-4795-A917-E980F8210260}"/>
              </a:ext>
            </a:extLst>
          </p:cNvPr>
          <p:cNvGrpSpPr/>
          <p:nvPr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1" name="Freeform 18">
              <a:extLst>
                <a:ext uri="{FF2B5EF4-FFF2-40B4-BE49-F238E27FC236}">
                  <a16:creationId xmlns:a16="http://schemas.microsoft.com/office/drawing/2014/main" id="{19EA8786-E979-42F3-A5BB-26AF6CF9C602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57">
              <a:extLst>
                <a:ext uri="{FF2B5EF4-FFF2-40B4-BE49-F238E27FC236}">
                  <a16:creationId xmlns:a16="http://schemas.microsoft.com/office/drawing/2014/main" id="{9DC62BE5-38F4-491A-A8B5-17BBD1C36C3B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noProof="0">
                <a:solidFill>
                  <a:schemeClr val="bg1"/>
                </a:solidFill>
              </a:endParaRPr>
            </a:p>
          </p:txBody>
        </p:sp>
      </p:grp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F5271990-9DBD-4A7E-9EAB-D14ED5AB65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33692"/>
            <a:ext cx="10658475" cy="680356"/>
          </a:xfrm>
          <a:prstGeom prst="rect">
            <a:avLst/>
          </a:prstGeom>
          <a:noFill/>
        </p:spPr>
        <p:txBody>
          <a:bodyPr vert="horz" wrap="square" lIns="144000" tIns="0" rIns="144000" bIns="0" rtlCol="0" anchor="ctr">
            <a:normAutofit/>
          </a:bodyPr>
          <a:lstStyle/>
          <a:p>
            <a:r>
              <a:rPr lang="de-DE" noProof="0"/>
              <a:t>Titel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59B4537D-9875-4949-B8E3-5C5D65F896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6763" y="6510334"/>
            <a:ext cx="187552" cy="246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E6101334-2212-47E5-96F0-086CB39DE767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3" name="Footer Placeholder 22">
            <a:extLst>
              <a:ext uri="{FF2B5EF4-FFF2-40B4-BE49-F238E27FC236}">
                <a16:creationId xmlns:a16="http://schemas.microsoft.com/office/drawing/2014/main" id="{738C50A1-844A-4A6E-A7A4-153602C530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70509" y="6511755"/>
            <a:ext cx="7526083" cy="244800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l">
              <a:defRPr sz="800"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Abteilung | Verfasser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681A92B-F880-459D-A1CB-D2A6791E0F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3" y="1196974"/>
            <a:ext cx="10658475" cy="52562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de-DE" noProof="0" dirty="0"/>
              <a:t>Ebene 1</a:t>
            </a:r>
          </a:p>
          <a:p>
            <a:pPr lvl="1"/>
            <a:r>
              <a:rPr lang="de-DE" noProof="0" dirty="0"/>
              <a:t>Ebene 2</a:t>
            </a:r>
          </a:p>
          <a:p>
            <a:pPr lvl="2"/>
            <a:r>
              <a:rPr lang="de-DE" noProof="0" dirty="0"/>
              <a:t>Ebene 3</a:t>
            </a:r>
          </a:p>
          <a:p>
            <a:pPr lvl="3"/>
            <a:r>
              <a:rPr lang="de-DE" noProof="0" dirty="0"/>
              <a:t>Ebene 4</a:t>
            </a:r>
          </a:p>
          <a:p>
            <a:pPr lvl="4"/>
            <a:r>
              <a:rPr lang="de-DE" noProof="0" dirty="0"/>
              <a:t>Ebene 5</a:t>
            </a:r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80E0C0A1-9375-4F36-B71D-95DD66E97E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4113514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5" imgW="473" imgH="476" progId="TCLayout.ActiveDocument.1">
                  <p:embed/>
                </p:oleObj>
              </mc:Choice>
              <mc:Fallback>
                <p:oleObj name="think-cell Folie" r:id="rId55" imgW="473" imgH="47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0E0C0A1-9375-4F36-B71D-95DD66E97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id="{2D4D0082-41DB-43CC-9120-28B10235E010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Aft>
                <a:spcPts val="1200"/>
              </a:spcAft>
            </a:pPr>
            <a:endParaRPr lang="de-DE" sz="2000" b="0" i="0" kern="600" spc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Rectangle 15" hidden="1">
            <a:extLst>
              <a:ext uri="{FF2B5EF4-FFF2-40B4-BE49-F238E27FC236}">
                <a16:creationId xmlns:a16="http://schemas.microsoft.com/office/drawing/2014/main" id="{DEAAE901-054D-41AA-B6A8-B0DE66A43531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8" name="Group 9">
            <a:extLst>
              <a:ext uri="{FF2B5EF4-FFF2-40B4-BE49-F238E27FC236}">
                <a16:creationId xmlns:a16="http://schemas.microsoft.com/office/drawing/2014/main" id="{925DFA70-0488-4795-A917-E980F8210260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19EA8786-E979-42F3-A5BB-26AF6CF9C602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57">
              <a:extLst>
                <a:ext uri="{FF2B5EF4-FFF2-40B4-BE49-F238E27FC236}">
                  <a16:creationId xmlns:a16="http://schemas.microsoft.com/office/drawing/2014/main" id="{9DC62BE5-38F4-491A-A8B5-17BBD1C36C3B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1805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  <p:sldLayoutId id="2147484002" r:id="rId2"/>
    <p:sldLayoutId id="2147484003" r:id="rId3"/>
    <p:sldLayoutId id="2147484004" r:id="rId4"/>
    <p:sldLayoutId id="2147484005" r:id="rId5"/>
    <p:sldLayoutId id="2147484006" r:id="rId6"/>
    <p:sldLayoutId id="2147484007" r:id="rId7"/>
    <p:sldLayoutId id="2147484008" r:id="rId8"/>
    <p:sldLayoutId id="2147484009" r:id="rId9"/>
    <p:sldLayoutId id="2147484010" r:id="rId10"/>
    <p:sldLayoutId id="2147484011" r:id="rId11"/>
    <p:sldLayoutId id="2147484012" r:id="rId12"/>
    <p:sldLayoutId id="2147484013" r:id="rId13"/>
    <p:sldLayoutId id="2147484014" r:id="rId14"/>
    <p:sldLayoutId id="2147484015" r:id="rId15"/>
    <p:sldLayoutId id="2147484016" r:id="rId16"/>
    <p:sldLayoutId id="2147484017" r:id="rId17"/>
    <p:sldLayoutId id="2147484018" r:id="rId18"/>
    <p:sldLayoutId id="2147484019" r:id="rId19"/>
    <p:sldLayoutId id="2147484020" r:id="rId20"/>
    <p:sldLayoutId id="2147484021" r:id="rId21"/>
    <p:sldLayoutId id="2147484022" r:id="rId22"/>
    <p:sldLayoutId id="2147484023" r:id="rId23"/>
    <p:sldLayoutId id="2147484024" r:id="rId24"/>
    <p:sldLayoutId id="2147484025" r:id="rId25"/>
    <p:sldLayoutId id="2147484026" r:id="rId26"/>
    <p:sldLayoutId id="2147484027" r:id="rId27"/>
    <p:sldLayoutId id="2147484028" r:id="rId28"/>
    <p:sldLayoutId id="2147484029" r:id="rId29"/>
    <p:sldLayoutId id="2147484030" r:id="rId30"/>
    <p:sldLayoutId id="2147484031" r:id="rId31"/>
    <p:sldLayoutId id="2147484032" r:id="rId32"/>
    <p:sldLayoutId id="2147484033" r:id="rId33"/>
    <p:sldLayoutId id="2147484034" r:id="rId34"/>
    <p:sldLayoutId id="2147484035" r:id="rId35"/>
    <p:sldLayoutId id="2147484036" r:id="rId36"/>
    <p:sldLayoutId id="2147484037" r:id="rId37"/>
    <p:sldLayoutId id="2147484038" r:id="rId38"/>
    <p:sldLayoutId id="2147484039" r:id="rId39"/>
    <p:sldLayoutId id="2147484040" r:id="rId40"/>
    <p:sldLayoutId id="2147484041" r:id="rId41"/>
    <p:sldLayoutId id="2147484042" r:id="rId42"/>
    <p:sldLayoutId id="2147484043" r:id="rId43"/>
    <p:sldLayoutId id="2147484044" r:id="rId44"/>
    <p:sldLayoutId id="2147484045" r:id="rId4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8775" indent="-35877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&gt;"/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bg1">
            <a:lumMod val="65000"/>
          </a:schemeClr>
        </a:buClr>
        <a:buFont typeface="Arial" panose="020B0604020202020204" pitchFamily="34" charset="0"/>
        <a:buChar char="&gt;"/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360363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SzPct val="150000"/>
        <a:buFontTx/>
        <a:buBlip>
          <a:blip r:embed="rId56"/>
        </a:buBlip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b="1" kern="600" cap="none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kern="600" spc="40" baseline="0">
          <a:solidFill>
            <a:schemeClr val="accent6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4065" userDrawn="1">
          <p15:clr>
            <a:srgbClr val="F26B43"/>
          </p15:clr>
        </p15:guide>
        <p15:guide id="8" pos="483" userDrawn="1">
          <p15:clr>
            <a:srgbClr val="F26B43"/>
          </p15:clr>
        </p15:guide>
        <p15:guide id="9" pos="7197" userDrawn="1">
          <p15:clr>
            <a:srgbClr val="F26B43"/>
          </p15:clr>
        </p15:guide>
        <p15:guide id="10" orient="horz" pos="754" userDrawn="1">
          <p15:clr>
            <a:srgbClr val="F26B43"/>
          </p15:clr>
        </p15:guide>
        <p15:guide id="11" orient="horz" pos="210" userDrawn="1">
          <p15:clr>
            <a:srgbClr val="F26B43"/>
          </p15:clr>
        </p15:guide>
        <p15:guide id="12" orient="horz" pos="6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7" Type="http://schemas.openxmlformats.org/officeDocument/2006/relationships/image" Target="../media/image16.emf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6" Type="http://schemas.openxmlformats.org/officeDocument/2006/relationships/oleObject" Target="../embeddings/oleObject91.bin"/><Relationship Id="rId5" Type="http://schemas.openxmlformats.org/officeDocument/2006/relationships/image" Target="../media/image15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9.xml"/><Relationship Id="rId1" Type="http://schemas.openxmlformats.org/officeDocument/2006/relationships/tags" Target="../tags/tag305.xml"/><Relationship Id="rId6" Type="http://schemas.openxmlformats.org/officeDocument/2006/relationships/image" Target="../media/image5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9.xml"/><Relationship Id="rId1" Type="http://schemas.openxmlformats.org/officeDocument/2006/relationships/tags" Target="../tags/tag306.xml"/><Relationship Id="rId6" Type="http://schemas.openxmlformats.org/officeDocument/2006/relationships/image" Target="../media/image5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69.xml"/><Relationship Id="rId1" Type="http://schemas.openxmlformats.org/officeDocument/2006/relationships/tags" Target="../tags/tag307.xml"/><Relationship Id="rId6" Type="http://schemas.openxmlformats.org/officeDocument/2006/relationships/image" Target="../media/image5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69.xml"/><Relationship Id="rId1" Type="http://schemas.openxmlformats.org/officeDocument/2006/relationships/tags" Target="../tags/tag308.xml"/><Relationship Id="rId6" Type="http://schemas.openxmlformats.org/officeDocument/2006/relationships/image" Target="../media/image5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9.xml"/><Relationship Id="rId1" Type="http://schemas.openxmlformats.org/officeDocument/2006/relationships/tags" Target="../tags/tag309.xml"/><Relationship Id="rId6" Type="http://schemas.openxmlformats.org/officeDocument/2006/relationships/image" Target="../media/image5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69.xml"/><Relationship Id="rId1" Type="http://schemas.openxmlformats.org/officeDocument/2006/relationships/tags" Target="../tags/tag310.xml"/><Relationship Id="rId6" Type="http://schemas.openxmlformats.org/officeDocument/2006/relationships/image" Target="../media/image5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69.xml"/><Relationship Id="rId1" Type="http://schemas.openxmlformats.org/officeDocument/2006/relationships/tags" Target="../tags/tag311.xml"/><Relationship Id="rId6" Type="http://schemas.openxmlformats.org/officeDocument/2006/relationships/image" Target="../media/image6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6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69.xml"/><Relationship Id="rId1" Type="http://schemas.openxmlformats.org/officeDocument/2006/relationships/tags" Target="../tags/tag280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Relationship Id="rId9" Type="http://schemas.openxmlformats.org/officeDocument/2006/relationships/image" Target="../media/image20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18" Type="http://schemas.openxmlformats.org/officeDocument/2006/relationships/image" Target="../media/image36.bin"/><Relationship Id="rId3" Type="http://schemas.openxmlformats.org/officeDocument/2006/relationships/image" Target="../media/image4.emf"/><Relationship Id="rId21" Type="http://schemas.openxmlformats.org/officeDocument/2006/relationships/image" Target="../media/image39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png"/><Relationship Id="rId2" Type="http://schemas.openxmlformats.org/officeDocument/2006/relationships/image" Target="../media/image21.jpg"/><Relationship Id="rId16" Type="http://schemas.openxmlformats.org/officeDocument/2006/relationships/image" Target="../media/image34.png"/><Relationship Id="rId20" Type="http://schemas.openxmlformats.org/officeDocument/2006/relationships/image" Target="../media/image38.png"/><Relationship Id="rId1" Type="http://schemas.openxmlformats.org/officeDocument/2006/relationships/slideLayout" Target="../slideLayouts/slideLayout90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23" Type="http://schemas.openxmlformats.org/officeDocument/2006/relationships/image" Target="../media/image41.png"/><Relationship Id="rId10" Type="http://schemas.openxmlformats.org/officeDocument/2006/relationships/image" Target="../media/image28.png"/><Relationship Id="rId19" Type="http://schemas.openxmlformats.org/officeDocument/2006/relationships/image" Target="../media/image37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Relationship Id="rId22" Type="http://schemas.openxmlformats.org/officeDocument/2006/relationships/image" Target="../media/image4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8.png"/><Relationship Id="rId7" Type="http://schemas.openxmlformats.org/officeDocument/2006/relationships/image" Target="../media/image24.png"/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22.png"/><Relationship Id="rId5" Type="http://schemas.openxmlformats.org/officeDocument/2006/relationships/image" Target="../media/image9.png"/><Relationship Id="rId4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9.xml"/><Relationship Id="rId1" Type="http://schemas.openxmlformats.org/officeDocument/2006/relationships/tags" Target="../tags/tag281.xml"/><Relationship Id="rId6" Type="http://schemas.openxmlformats.org/officeDocument/2006/relationships/image" Target="../media/image4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9.xml"/><Relationship Id="rId1" Type="http://schemas.openxmlformats.org/officeDocument/2006/relationships/tags" Target="../tags/tag28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46.jpeg"/><Relationship Id="rId2" Type="http://schemas.openxmlformats.org/officeDocument/2006/relationships/slideLayout" Target="../slideLayouts/slideLayout69.xml"/><Relationship Id="rId1" Type="http://schemas.openxmlformats.org/officeDocument/2006/relationships/tags" Target="../tags/tag283.x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10" Type="http://schemas.openxmlformats.org/officeDocument/2006/relationships/image" Target="../media/image49.png"/><Relationship Id="rId4" Type="http://schemas.openxmlformats.org/officeDocument/2006/relationships/oleObject" Target="../embeddings/oleObject92.bin"/><Relationship Id="rId9" Type="http://schemas.openxmlformats.org/officeDocument/2006/relationships/image" Target="../media/image4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91.xml"/><Relationship Id="rId13" Type="http://schemas.openxmlformats.org/officeDocument/2006/relationships/tags" Target="../tags/tag296.xml"/><Relationship Id="rId18" Type="http://schemas.openxmlformats.org/officeDocument/2006/relationships/tags" Target="../tags/tag301.xml"/><Relationship Id="rId26" Type="http://schemas.openxmlformats.org/officeDocument/2006/relationships/image" Target="../media/image12.png"/><Relationship Id="rId3" Type="http://schemas.openxmlformats.org/officeDocument/2006/relationships/tags" Target="../tags/tag286.xml"/><Relationship Id="rId21" Type="http://schemas.openxmlformats.org/officeDocument/2006/relationships/slideLayout" Target="../slideLayouts/slideLayout58.xml"/><Relationship Id="rId7" Type="http://schemas.openxmlformats.org/officeDocument/2006/relationships/tags" Target="../tags/tag290.xml"/><Relationship Id="rId12" Type="http://schemas.openxmlformats.org/officeDocument/2006/relationships/tags" Target="../tags/tag295.xml"/><Relationship Id="rId17" Type="http://schemas.openxmlformats.org/officeDocument/2006/relationships/tags" Target="../tags/tag300.xml"/><Relationship Id="rId25" Type="http://schemas.openxmlformats.org/officeDocument/2006/relationships/image" Target="../media/image52.svg"/><Relationship Id="rId2" Type="http://schemas.openxmlformats.org/officeDocument/2006/relationships/tags" Target="../tags/tag285.xml"/><Relationship Id="rId16" Type="http://schemas.openxmlformats.org/officeDocument/2006/relationships/tags" Target="../tags/tag299.xml"/><Relationship Id="rId20" Type="http://schemas.openxmlformats.org/officeDocument/2006/relationships/tags" Target="../tags/tag303.xml"/><Relationship Id="rId1" Type="http://schemas.openxmlformats.org/officeDocument/2006/relationships/tags" Target="../tags/tag284.xml"/><Relationship Id="rId6" Type="http://schemas.openxmlformats.org/officeDocument/2006/relationships/tags" Target="../tags/tag289.xml"/><Relationship Id="rId11" Type="http://schemas.openxmlformats.org/officeDocument/2006/relationships/tags" Target="../tags/tag294.xml"/><Relationship Id="rId24" Type="http://schemas.openxmlformats.org/officeDocument/2006/relationships/image" Target="../media/image51.png"/><Relationship Id="rId5" Type="http://schemas.openxmlformats.org/officeDocument/2006/relationships/tags" Target="../tags/tag288.xml"/><Relationship Id="rId15" Type="http://schemas.openxmlformats.org/officeDocument/2006/relationships/tags" Target="../tags/tag298.xml"/><Relationship Id="rId23" Type="http://schemas.openxmlformats.org/officeDocument/2006/relationships/image" Target="../media/image8.png"/><Relationship Id="rId10" Type="http://schemas.openxmlformats.org/officeDocument/2006/relationships/tags" Target="../tags/tag293.xml"/><Relationship Id="rId19" Type="http://schemas.openxmlformats.org/officeDocument/2006/relationships/tags" Target="../tags/tag302.xml"/><Relationship Id="rId4" Type="http://schemas.openxmlformats.org/officeDocument/2006/relationships/tags" Target="../tags/tag287.xml"/><Relationship Id="rId9" Type="http://schemas.openxmlformats.org/officeDocument/2006/relationships/tags" Target="../tags/tag292.xml"/><Relationship Id="rId14" Type="http://schemas.openxmlformats.org/officeDocument/2006/relationships/tags" Target="../tags/tag297.xml"/><Relationship Id="rId22" Type="http://schemas.openxmlformats.org/officeDocument/2006/relationships/image" Target="../media/image50.png"/><Relationship Id="rId27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9.xml"/><Relationship Id="rId1" Type="http://schemas.openxmlformats.org/officeDocument/2006/relationships/tags" Target="../tags/tag304.xml"/><Relationship Id="rId6" Type="http://schemas.openxmlformats.org/officeDocument/2006/relationships/image" Target="../media/image5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platzhalter 13" descr="Ein Bild, das Text, Mann, Person, Elektronik enthält.&#10;&#10;Automatisch generierte Beschreibung">
            <a:extLst>
              <a:ext uri="{FF2B5EF4-FFF2-40B4-BE49-F238E27FC236}">
                <a16:creationId xmlns:a16="http://schemas.microsoft.com/office/drawing/2014/main" id="{591A7524-38DF-961C-D972-BC767C89E22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5"/>
          <a:srcRect t="11223" b="11223"/>
          <a:stretch>
            <a:fillRect/>
          </a:stretch>
        </p:blipFill>
        <p:spPr/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E0A34A9-1245-4506-BC93-B6A5A5D605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38" imgH="338" progId="TCLayout.ActiveDocument.1">
                  <p:embed/>
                </p:oleObj>
              </mc:Choice>
              <mc:Fallback>
                <p:oleObj name="think-cell Folie" r:id="rId6" imgW="338" imgH="33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E0A34A9-1245-4506-BC93-B6A5A5D605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C822FD0-4C3B-47E2-89A5-2BDDE122E4E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spcAft>
                <a:spcPts val="1200"/>
              </a:spcAft>
            </a:pPr>
            <a:endParaRPr lang="de-DE" sz="4800" b="1" kern="600" spc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C99E77E-342A-464B-9769-B46A6505A8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838" y="5301842"/>
            <a:ext cx="9227890" cy="1208480"/>
          </a:xfrm>
        </p:spPr>
        <p:txBody>
          <a:bodyPr/>
          <a:lstStyle/>
          <a:p>
            <a:pPr algn="ctr"/>
            <a:r>
              <a:rPr lang="de-DE" sz="4400" dirty="0">
                <a:solidFill>
                  <a:schemeClr val="tx2"/>
                </a:solidFill>
              </a:rPr>
              <a:t>NEXT Farming Pro</a:t>
            </a:r>
            <a:br>
              <a:rPr lang="de-DE" sz="3600" dirty="0">
                <a:solidFill>
                  <a:schemeClr val="tx2"/>
                </a:solidFill>
              </a:rPr>
            </a:br>
            <a:r>
              <a:rPr lang="de-DE" sz="3200" dirty="0">
                <a:solidFill>
                  <a:schemeClr val="tx2"/>
                </a:solidFill>
              </a:rPr>
              <a:t>Das komplette Farm Management System</a:t>
            </a:r>
            <a:br>
              <a:rPr lang="de-DE" sz="3600" dirty="0">
                <a:solidFill>
                  <a:schemeClr val="tx2"/>
                </a:solidFill>
              </a:rPr>
            </a:br>
            <a:endParaRPr lang="de-DE" sz="3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977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66406E-0724-4107-AA7B-FEA4164C17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566406E-0724-4107-AA7B-FEA4164C1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DB2A292-545D-E3AF-A58D-FC2FBB066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05222D9-B265-7E13-05B6-07DE3B4AF2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211" y="0"/>
            <a:ext cx="1216557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7420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66406E-0724-4107-AA7B-FEA4164C17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566406E-0724-4107-AA7B-FEA4164C1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DB2A292-545D-E3AF-A58D-FC2FBB066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F313CC4-A497-6A43-5CA9-BCAE895C970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967" y="0"/>
            <a:ext cx="1215606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89436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66406E-0724-4107-AA7B-FEA4164C17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566406E-0724-4107-AA7B-FEA4164C1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DB2A292-545D-E3AF-A58D-FC2FBB066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2C8FBBA-3124-A070-67DB-94AD79D87C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2677"/>
            <a:ext cx="12192000" cy="6852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1363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66406E-0724-4107-AA7B-FEA4164C17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566406E-0724-4107-AA7B-FEA4164C1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DB2A292-545D-E3AF-A58D-FC2FBB066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B03D21E-8E5B-9302-2CE5-8AE1C8E436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4287"/>
            <a:ext cx="12192000" cy="6829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4480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66406E-0724-4107-AA7B-FEA4164C17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566406E-0724-4107-AA7B-FEA4164C1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DB2A292-545D-E3AF-A58D-FC2FBB066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5497AAB-C7FA-AEC5-F76D-2DB88DA6EB4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4155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66406E-0724-4107-AA7B-FEA4164C17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566406E-0724-4107-AA7B-FEA4164C1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DB2A292-545D-E3AF-A58D-FC2FBB066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E73195F-C0B0-B2FB-3559-586D158716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0456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66406E-0724-4107-AA7B-FEA4164C17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566406E-0724-4107-AA7B-FEA4164C1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DB2A292-545D-E3AF-A58D-FC2FBB066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E3F2A3C-0571-D4AE-5C11-9709F6A908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64" y="8142"/>
            <a:ext cx="12177872" cy="6841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3034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01855E81-3D12-89E2-A587-D5723D3267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004"/>
            <a:ext cx="12192000" cy="6825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6693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66406E-0724-4107-AA7B-FEA4164C17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566406E-0724-4107-AA7B-FEA4164C1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8EC2330D-9847-D173-D86A-214C6015A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4E2B3107-0F85-8585-1998-73C1C546BCE7}"/>
              </a:ext>
            </a:extLst>
          </p:cNvPr>
          <p:cNvGrpSpPr/>
          <p:nvPr/>
        </p:nvGrpSpPr>
        <p:grpSpPr>
          <a:xfrm>
            <a:off x="731072" y="1206031"/>
            <a:ext cx="10729856" cy="3487959"/>
            <a:chOff x="731072" y="1206031"/>
            <a:chExt cx="10729856" cy="3487959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E90C2F9A-2A9E-FD53-1EEB-ABC2863B6FB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31072" y="1206031"/>
              <a:ext cx="10729856" cy="3487959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D4226452-3066-E2E6-288D-2AB806D8773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58928" y="2431951"/>
              <a:ext cx="418051" cy="219654"/>
            </a:xfrm>
            <a:prstGeom prst="rect">
              <a:avLst/>
            </a:prstGeom>
          </p:spPr>
        </p:pic>
        <p:pic>
          <p:nvPicPr>
            <p:cNvPr id="8" name="Grafik 7" descr="Bauer mit einfarbiger Füllung">
              <a:extLst>
                <a:ext uri="{FF2B5EF4-FFF2-40B4-BE49-F238E27FC236}">
                  <a16:creationId xmlns:a16="http://schemas.microsoft.com/office/drawing/2014/main" id="{64B3DA4F-03A5-5DA4-2EB5-2C4CD75F0A8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684722" y="2353880"/>
              <a:ext cx="418051" cy="35093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313284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Himmel, draußen, Pflanze, Gras enthält.&#10;&#10;Automatisch generierte Beschreibung">
            <a:extLst>
              <a:ext uri="{FF2B5EF4-FFF2-40B4-BE49-F238E27FC236}">
                <a16:creationId xmlns:a16="http://schemas.microsoft.com/office/drawing/2014/main" id="{9CDC217F-18C7-8DF5-06DB-95B8E8B627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4036" y="-8507"/>
            <a:ext cx="12226035" cy="6866507"/>
          </a:xfrm>
          <a:prstGeom prst="rect">
            <a:avLst/>
          </a:prstGeom>
        </p:spPr>
      </p:pic>
      <p:sp>
        <p:nvSpPr>
          <p:cNvPr id="15" name="Rectangle 2">
            <a:extLst>
              <a:ext uri="{FF2B5EF4-FFF2-40B4-BE49-F238E27FC236}">
                <a16:creationId xmlns:a16="http://schemas.microsoft.com/office/drawing/2014/main" id="{758BD8C5-0F1E-AC62-2BD6-5C1ADD4C5671}"/>
              </a:ext>
            </a:extLst>
          </p:cNvPr>
          <p:cNvSpPr/>
          <p:nvPr/>
        </p:nvSpPr>
        <p:spPr>
          <a:xfrm>
            <a:off x="-40737" y="-2416"/>
            <a:ext cx="12232735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304815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C4AF0CE0-DE71-5625-59BD-D15041A4648C}"/>
              </a:ext>
            </a:extLst>
          </p:cNvPr>
          <p:cNvSpPr txBox="1"/>
          <p:nvPr/>
        </p:nvSpPr>
        <p:spPr>
          <a:xfrm>
            <a:off x="947957" y="103885"/>
            <a:ext cx="11165746" cy="89255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55600" indent="-355600" algn="ctr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</a:pPr>
            <a:r>
              <a:rPr lang="en-GB" sz="2400" b="1" dirty="0" err="1">
                <a:solidFill>
                  <a:schemeClr val="bg1"/>
                </a:solidFill>
              </a:rPr>
              <a:t>Wir</a:t>
            </a:r>
            <a:r>
              <a:rPr lang="en-GB" sz="2400" b="1" dirty="0">
                <a:solidFill>
                  <a:schemeClr val="bg1"/>
                </a:solidFill>
              </a:rPr>
              <a:t> </a:t>
            </a:r>
            <a:r>
              <a:rPr lang="en-GB" sz="2400" b="1" dirty="0" err="1">
                <a:solidFill>
                  <a:schemeClr val="bg1"/>
                </a:solidFill>
              </a:rPr>
              <a:t>können</a:t>
            </a:r>
            <a:r>
              <a:rPr lang="en-GB" sz="2400" b="1" dirty="0">
                <a:solidFill>
                  <a:schemeClr val="bg1"/>
                </a:solidFill>
              </a:rPr>
              <a:t> </a:t>
            </a:r>
            <a:r>
              <a:rPr lang="en-GB" sz="2400" b="1" dirty="0" err="1">
                <a:solidFill>
                  <a:schemeClr val="bg1"/>
                </a:solidFill>
              </a:rPr>
              <a:t>mit</a:t>
            </a:r>
            <a:r>
              <a:rPr lang="en-GB" sz="2400" b="1" dirty="0">
                <a:solidFill>
                  <a:schemeClr val="bg1"/>
                </a:solidFill>
              </a:rPr>
              <a:t> </a:t>
            </a:r>
            <a:r>
              <a:rPr lang="en-GB" sz="2400" b="1" dirty="0" err="1">
                <a:solidFill>
                  <a:schemeClr val="bg1"/>
                </a:solidFill>
              </a:rPr>
              <a:t>grossem</a:t>
            </a:r>
            <a:r>
              <a:rPr lang="en-GB" sz="2400" b="1" dirty="0">
                <a:solidFill>
                  <a:schemeClr val="bg1"/>
                </a:solidFill>
              </a:rPr>
              <a:t> </a:t>
            </a:r>
            <a:r>
              <a:rPr lang="en-GB" sz="2400" b="1" dirty="0" err="1">
                <a:solidFill>
                  <a:schemeClr val="bg1"/>
                </a:solidFill>
              </a:rPr>
              <a:t>Selbstbewusstsein</a:t>
            </a:r>
            <a:r>
              <a:rPr lang="en-GB" sz="2400" b="1" dirty="0">
                <a:solidFill>
                  <a:schemeClr val="bg1"/>
                </a:solidFill>
              </a:rPr>
              <a:t> </a:t>
            </a:r>
            <a:r>
              <a:rPr lang="en-GB" sz="2400" b="1" dirty="0" err="1">
                <a:solidFill>
                  <a:schemeClr val="bg1"/>
                </a:solidFill>
              </a:rPr>
              <a:t>darstellen</a:t>
            </a:r>
            <a:r>
              <a:rPr lang="en-GB" sz="2400" b="1" dirty="0">
                <a:solidFill>
                  <a:schemeClr val="bg1"/>
                </a:solidFill>
              </a:rPr>
              <a:t>, das es das </a:t>
            </a:r>
          </a:p>
          <a:p>
            <a:pPr marL="355600" indent="-355600" algn="ctr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</a:pPr>
            <a:r>
              <a:rPr lang="en-GB" sz="2400" b="1" dirty="0" err="1">
                <a:solidFill>
                  <a:schemeClr val="bg1"/>
                </a:solidFill>
              </a:rPr>
              <a:t>fachlich</a:t>
            </a:r>
            <a:r>
              <a:rPr lang="en-GB" sz="2400" b="1" dirty="0">
                <a:solidFill>
                  <a:schemeClr val="bg1"/>
                </a:solidFill>
              </a:rPr>
              <a:t> </a:t>
            </a:r>
            <a:r>
              <a:rPr lang="en-GB" sz="2400" b="1" dirty="0" err="1">
                <a:solidFill>
                  <a:schemeClr val="bg1"/>
                </a:solidFill>
              </a:rPr>
              <a:t>vollständigste</a:t>
            </a:r>
            <a:r>
              <a:rPr lang="en-GB" sz="2400" b="1" dirty="0">
                <a:solidFill>
                  <a:schemeClr val="bg1"/>
                </a:solidFill>
              </a:rPr>
              <a:t> und </a:t>
            </a:r>
            <a:r>
              <a:rPr lang="en-GB" sz="2400" b="1" dirty="0" err="1">
                <a:solidFill>
                  <a:schemeClr val="bg1"/>
                </a:solidFill>
              </a:rPr>
              <a:t>umfassendste</a:t>
            </a:r>
            <a:r>
              <a:rPr lang="en-GB" sz="2400" b="1" dirty="0">
                <a:solidFill>
                  <a:schemeClr val="bg1"/>
                </a:solidFill>
              </a:rPr>
              <a:t> FMIS </a:t>
            </a:r>
            <a:r>
              <a:rPr lang="en-GB" sz="2400" b="1" dirty="0" err="1">
                <a:solidFill>
                  <a:schemeClr val="bg1"/>
                </a:solidFill>
              </a:rPr>
              <a:t>ist</a:t>
            </a:r>
            <a:r>
              <a:rPr lang="en-GB" sz="2400" b="1" dirty="0">
                <a:solidFill>
                  <a:schemeClr val="bg1"/>
                </a:solidFill>
              </a:rPr>
              <a:t> !</a:t>
            </a:r>
            <a:endParaRPr lang="en-GB" sz="2400" dirty="0">
              <a:solidFill>
                <a:schemeClr val="bg1"/>
              </a:solidFill>
            </a:endParaRPr>
          </a:p>
        </p:txBody>
      </p:sp>
      <p:pic>
        <p:nvPicPr>
          <p:cNvPr id="132" name="Grafik 14" descr="A picture containing text, sign, clipart&#10;&#10;Description automatically generated">
            <a:extLst>
              <a:ext uri="{FF2B5EF4-FFF2-40B4-BE49-F238E27FC236}">
                <a16:creationId xmlns:a16="http://schemas.microsoft.com/office/drawing/2014/main" id="{4F544D40-D368-AB81-13E2-04F77B70238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816" r="65416" b="23919"/>
          <a:stretch/>
        </p:blipFill>
        <p:spPr>
          <a:xfrm>
            <a:off x="321113" y="132716"/>
            <a:ext cx="871290" cy="781683"/>
          </a:xfrm>
          <a:prstGeom prst="rect">
            <a:avLst/>
          </a:prstGeom>
        </p:spPr>
      </p:pic>
      <p:grpSp>
        <p:nvGrpSpPr>
          <p:cNvPr id="2" name="Gruppieren 14">
            <a:extLst>
              <a:ext uri="{FF2B5EF4-FFF2-40B4-BE49-F238E27FC236}">
                <a16:creationId xmlns:a16="http://schemas.microsoft.com/office/drawing/2014/main" id="{0EA23FE9-6695-B856-55C4-D1EC112EF46C}"/>
              </a:ext>
            </a:extLst>
          </p:cNvPr>
          <p:cNvGrpSpPr/>
          <p:nvPr/>
        </p:nvGrpSpPr>
        <p:grpSpPr>
          <a:xfrm>
            <a:off x="2629530" y="3583770"/>
            <a:ext cx="1649062" cy="1429704"/>
            <a:chOff x="2776883" y="4135794"/>
            <a:chExt cx="1928765" cy="1672201"/>
          </a:xfrm>
        </p:grpSpPr>
        <p:sp>
          <p:nvSpPr>
            <p:cNvPr id="4" name="Freeform 16">
              <a:extLst>
                <a:ext uri="{FF2B5EF4-FFF2-40B4-BE49-F238E27FC236}">
                  <a16:creationId xmlns:a16="http://schemas.microsoft.com/office/drawing/2014/main" id="{1DCBE3AB-6940-C581-779C-88F780855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6883" y="4135794"/>
              <a:ext cx="1928765" cy="1672201"/>
            </a:xfrm>
            <a:custGeom>
              <a:avLst/>
              <a:gdLst>
                <a:gd name="T0" fmla="*/ 639 w 2556"/>
                <a:gd name="T1" fmla="*/ 2216 h 2216"/>
                <a:gd name="T2" fmla="*/ 0 w 2556"/>
                <a:gd name="T3" fmla="*/ 1108 h 2216"/>
                <a:gd name="T4" fmla="*/ 639 w 2556"/>
                <a:gd name="T5" fmla="*/ 0 h 2216"/>
                <a:gd name="T6" fmla="*/ 1917 w 2556"/>
                <a:gd name="T7" fmla="*/ 0 h 2216"/>
                <a:gd name="T8" fmla="*/ 2556 w 2556"/>
                <a:gd name="T9" fmla="*/ 1108 h 2216"/>
                <a:gd name="T10" fmla="*/ 1917 w 2556"/>
                <a:gd name="T11" fmla="*/ 2216 h 2216"/>
                <a:gd name="T12" fmla="*/ 639 w 2556"/>
                <a:gd name="T13" fmla="*/ 2216 h 2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56" h="2216">
                  <a:moveTo>
                    <a:pt x="639" y="2216"/>
                  </a:moveTo>
                  <a:lnTo>
                    <a:pt x="0" y="1108"/>
                  </a:lnTo>
                  <a:lnTo>
                    <a:pt x="639" y="0"/>
                  </a:lnTo>
                  <a:lnTo>
                    <a:pt x="1917" y="0"/>
                  </a:lnTo>
                  <a:lnTo>
                    <a:pt x="2556" y="1108"/>
                  </a:lnTo>
                  <a:lnTo>
                    <a:pt x="1917" y="2216"/>
                  </a:lnTo>
                  <a:lnTo>
                    <a:pt x="639" y="221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5" name="Freeform 17">
              <a:extLst>
                <a:ext uri="{FF2B5EF4-FFF2-40B4-BE49-F238E27FC236}">
                  <a16:creationId xmlns:a16="http://schemas.microsoft.com/office/drawing/2014/main" id="{20B5F7FB-EC1E-A887-D899-D5A36691B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3656" y="4971895"/>
              <a:ext cx="1676728" cy="726683"/>
            </a:xfrm>
            <a:custGeom>
              <a:avLst/>
              <a:gdLst>
                <a:gd name="T0" fmla="*/ 556 w 2222"/>
                <a:gd name="T1" fmla="*/ 963 h 963"/>
                <a:gd name="T2" fmla="*/ 0 w 2222"/>
                <a:gd name="T3" fmla="*/ 0 h 963"/>
                <a:gd name="T4" fmla="*/ 2222 w 2222"/>
                <a:gd name="T5" fmla="*/ 0 h 963"/>
                <a:gd name="T6" fmla="*/ 1667 w 2222"/>
                <a:gd name="T7" fmla="*/ 963 h 963"/>
                <a:gd name="T8" fmla="*/ 556 w 2222"/>
                <a:gd name="T9" fmla="*/ 963 h 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2" h="963">
                  <a:moveTo>
                    <a:pt x="556" y="963"/>
                  </a:moveTo>
                  <a:lnTo>
                    <a:pt x="0" y="0"/>
                  </a:lnTo>
                  <a:lnTo>
                    <a:pt x="2222" y="0"/>
                  </a:lnTo>
                  <a:lnTo>
                    <a:pt x="1667" y="963"/>
                  </a:lnTo>
                  <a:lnTo>
                    <a:pt x="556" y="963"/>
                  </a:ln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6" name="TextBox 78">
              <a:extLst>
                <a:ext uri="{FF2B5EF4-FFF2-40B4-BE49-F238E27FC236}">
                  <a16:creationId xmlns:a16="http://schemas.microsoft.com/office/drawing/2014/main" id="{EA1A903A-76E7-8B80-4BC1-6CEBF06FB29C}"/>
                </a:ext>
              </a:extLst>
            </p:cNvPr>
            <p:cNvSpPr txBox="1"/>
            <p:nvPr/>
          </p:nvSpPr>
          <p:spPr>
            <a:xfrm>
              <a:off x="2983269" y="4283468"/>
              <a:ext cx="1516626" cy="50397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 defTabSz="304815"/>
              <a:r>
                <a:rPr lang="en-US" sz="1100" b="1" dirty="0">
                  <a:solidFill>
                    <a:srgbClr val="FFFFFF"/>
                  </a:solidFill>
                </a:rPr>
                <a:t>Map Server </a:t>
              </a:r>
            </a:p>
            <a:p>
              <a:pPr algn="ctr" defTabSz="304815"/>
              <a:r>
                <a:rPr lang="en-US" sz="1100" b="1" dirty="0">
                  <a:solidFill>
                    <a:srgbClr val="FFFFFF"/>
                  </a:solidFill>
                </a:rPr>
                <a:t>und Flex GPS</a:t>
              </a:r>
            </a:p>
          </p:txBody>
        </p:sp>
        <p:pic>
          <p:nvPicPr>
            <p:cNvPr id="7" name="Grafik 18">
              <a:extLst>
                <a:ext uri="{FF2B5EF4-FFF2-40B4-BE49-F238E27FC236}">
                  <a16:creationId xmlns:a16="http://schemas.microsoft.com/office/drawing/2014/main" id="{19EFC398-7E77-2376-54E6-764601A1E28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28679" y="4949603"/>
              <a:ext cx="825171" cy="825171"/>
            </a:xfrm>
            <a:prstGeom prst="rect">
              <a:avLst/>
            </a:prstGeom>
          </p:spPr>
        </p:pic>
      </p:grpSp>
      <p:grpSp>
        <p:nvGrpSpPr>
          <p:cNvPr id="8" name="Gruppieren 19">
            <a:extLst>
              <a:ext uri="{FF2B5EF4-FFF2-40B4-BE49-F238E27FC236}">
                <a16:creationId xmlns:a16="http://schemas.microsoft.com/office/drawing/2014/main" id="{0F909129-BD4E-D729-F651-371757A7A922}"/>
              </a:ext>
            </a:extLst>
          </p:cNvPr>
          <p:cNvGrpSpPr/>
          <p:nvPr/>
        </p:nvGrpSpPr>
        <p:grpSpPr>
          <a:xfrm>
            <a:off x="3947578" y="2795053"/>
            <a:ext cx="1648418" cy="1429704"/>
            <a:chOff x="4340256" y="3245879"/>
            <a:chExt cx="1928012" cy="1672201"/>
          </a:xfrm>
        </p:grpSpPr>
        <p:sp>
          <p:nvSpPr>
            <p:cNvPr id="9" name="Freeform 42">
              <a:extLst>
                <a:ext uri="{FF2B5EF4-FFF2-40B4-BE49-F238E27FC236}">
                  <a16:creationId xmlns:a16="http://schemas.microsoft.com/office/drawing/2014/main" id="{F37E5BB5-8577-4E26-E44C-B2EBBAA25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256" y="3245879"/>
              <a:ext cx="1928012" cy="1672201"/>
            </a:xfrm>
            <a:custGeom>
              <a:avLst/>
              <a:gdLst>
                <a:gd name="T0" fmla="*/ 638 w 2555"/>
                <a:gd name="T1" fmla="*/ 2216 h 2216"/>
                <a:gd name="T2" fmla="*/ 0 w 2555"/>
                <a:gd name="T3" fmla="*/ 1108 h 2216"/>
                <a:gd name="T4" fmla="*/ 638 w 2555"/>
                <a:gd name="T5" fmla="*/ 0 h 2216"/>
                <a:gd name="T6" fmla="*/ 1917 w 2555"/>
                <a:gd name="T7" fmla="*/ 0 h 2216"/>
                <a:gd name="T8" fmla="*/ 2555 w 2555"/>
                <a:gd name="T9" fmla="*/ 1108 h 2216"/>
                <a:gd name="T10" fmla="*/ 1917 w 2555"/>
                <a:gd name="T11" fmla="*/ 2216 h 2216"/>
                <a:gd name="T12" fmla="*/ 638 w 2555"/>
                <a:gd name="T13" fmla="*/ 2216 h 2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55" h="2216">
                  <a:moveTo>
                    <a:pt x="638" y="2216"/>
                  </a:moveTo>
                  <a:lnTo>
                    <a:pt x="0" y="1108"/>
                  </a:lnTo>
                  <a:lnTo>
                    <a:pt x="638" y="0"/>
                  </a:lnTo>
                  <a:lnTo>
                    <a:pt x="1917" y="0"/>
                  </a:lnTo>
                  <a:lnTo>
                    <a:pt x="2555" y="1108"/>
                  </a:lnTo>
                  <a:lnTo>
                    <a:pt x="1917" y="2216"/>
                  </a:lnTo>
                  <a:lnTo>
                    <a:pt x="638" y="22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0" name="Freeform 43">
              <a:extLst>
                <a:ext uri="{FF2B5EF4-FFF2-40B4-BE49-F238E27FC236}">
                  <a16:creationId xmlns:a16="http://schemas.microsoft.com/office/drawing/2014/main" id="{895573A4-33CD-6ABE-5499-89906DE3B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4766" y="4081980"/>
              <a:ext cx="1676729" cy="726683"/>
            </a:xfrm>
            <a:custGeom>
              <a:avLst/>
              <a:gdLst>
                <a:gd name="T0" fmla="*/ 556 w 2222"/>
                <a:gd name="T1" fmla="*/ 963 h 963"/>
                <a:gd name="T2" fmla="*/ 0 w 2222"/>
                <a:gd name="T3" fmla="*/ 0 h 963"/>
                <a:gd name="T4" fmla="*/ 2222 w 2222"/>
                <a:gd name="T5" fmla="*/ 0 h 963"/>
                <a:gd name="T6" fmla="*/ 1667 w 2222"/>
                <a:gd name="T7" fmla="*/ 963 h 963"/>
                <a:gd name="T8" fmla="*/ 556 w 2222"/>
                <a:gd name="T9" fmla="*/ 963 h 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2" h="963">
                  <a:moveTo>
                    <a:pt x="556" y="963"/>
                  </a:moveTo>
                  <a:lnTo>
                    <a:pt x="0" y="0"/>
                  </a:lnTo>
                  <a:lnTo>
                    <a:pt x="2222" y="0"/>
                  </a:lnTo>
                  <a:lnTo>
                    <a:pt x="1667" y="963"/>
                  </a:lnTo>
                  <a:lnTo>
                    <a:pt x="556" y="963"/>
                  </a:ln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1" name="TextBox 78">
              <a:extLst>
                <a:ext uri="{FF2B5EF4-FFF2-40B4-BE49-F238E27FC236}">
                  <a16:creationId xmlns:a16="http://schemas.microsoft.com/office/drawing/2014/main" id="{FC006ED1-76C5-7E87-A171-96B2616B77E9}"/>
                </a:ext>
              </a:extLst>
            </p:cNvPr>
            <p:cNvSpPr txBox="1"/>
            <p:nvPr/>
          </p:nvSpPr>
          <p:spPr>
            <a:xfrm>
              <a:off x="4517250" y="3312527"/>
              <a:ext cx="1570918" cy="68396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 defTabSz="304815"/>
              <a:r>
                <a:rPr lang="en-US" sz="1100" b="1" dirty="0">
                  <a:solidFill>
                    <a:srgbClr val="FFFFFF"/>
                  </a:solidFill>
                </a:rPr>
                <a:t>GIS</a:t>
              </a:r>
            </a:p>
            <a:p>
              <a:pPr algn="ctr" defTabSz="304815"/>
              <a:r>
                <a:rPr lang="en-US" sz="1050" dirty="0" err="1">
                  <a:solidFill>
                    <a:srgbClr val="FFFFFF"/>
                  </a:solidFill>
                </a:rPr>
                <a:t>Geografisches</a:t>
              </a:r>
              <a:r>
                <a:rPr lang="en-US" sz="1050" dirty="0">
                  <a:solidFill>
                    <a:srgbClr val="FFFFFF"/>
                  </a:solidFill>
                </a:rPr>
                <a:t> </a:t>
              </a:r>
              <a:r>
                <a:rPr lang="en-US" sz="1050" dirty="0" err="1">
                  <a:solidFill>
                    <a:srgbClr val="FFFFFF"/>
                  </a:solidFill>
                </a:rPr>
                <a:t>Informationssyste</a:t>
              </a:r>
              <a:endParaRPr lang="en-US" sz="1050" dirty="0">
                <a:solidFill>
                  <a:srgbClr val="FFFFFF"/>
                </a:solidFill>
              </a:endParaRPr>
            </a:p>
          </p:txBody>
        </p:sp>
        <p:pic>
          <p:nvPicPr>
            <p:cNvPr id="12" name="Grafik 23">
              <a:extLst>
                <a:ext uri="{FF2B5EF4-FFF2-40B4-BE49-F238E27FC236}">
                  <a16:creationId xmlns:a16="http://schemas.microsoft.com/office/drawing/2014/main" id="{ED127CDE-9683-DE00-459E-92838D75769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5938" y="4166655"/>
              <a:ext cx="557331" cy="557331"/>
            </a:xfrm>
            <a:prstGeom prst="rect">
              <a:avLst/>
            </a:prstGeom>
            <a:noFill/>
          </p:spPr>
        </p:pic>
      </p:grpSp>
      <p:grpSp>
        <p:nvGrpSpPr>
          <p:cNvPr id="13" name="Gruppieren 24">
            <a:extLst>
              <a:ext uri="{FF2B5EF4-FFF2-40B4-BE49-F238E27FC236}">
                <a16:creationId xmlns:a16="http://schemas.microsoft.com/office/drawing/2014/main" id="{2684EB90-958E-7EF8-DAD2-E5F7DDE4D08E}"/>
              </a:ext>
            </a:extLst>
          </p:cNvPr>
          <p:cNvGrpSpPr/>
          <p:nvPr/>
        </p:nvGrpSpPr>
        <p:grpSpPr>
          <a:xfrm>
            <a:off x="1341957" y="2796548"/>
            <a:ext cx="1649063" cy="1429704"/>
            <a:chOff x="1193845" y="3226640"/>
            <a:chExt cx="1928765" cy="1672201"/>
          </a:xfrm>
        </p:grpSpPr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id="{36B2DC58-5CAA-4832-C015-7A31D61FC5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3845" y="3226640"/>
              <a:ext cx="1928765" cy="1672201"/>
            </a:xfrm>
            <a:custGeom>
              <a:avLst/>
              <a:gdLst>
                <a:gd name="T0" fmla="*/ 639 w 2556"/>
                <a:gd name="T1" fmla="*/ 2216 h 2216"/>
                <a:gd name="T2" fmla="*/ 0 w 2556"/>
                <a:gd name="T3" fmla="*/ 1108 h 2216"/>
                <a:gd name="T4" fmla="*/ 639 w 2556"/>
                <a:gd name="T5" fmla="*/ 0 h 2216"/>
                <a:gd name="T6" fmla="*/ 1917 w 2556"/>
                <a:gd name="T7" fmla="*/ 0 h 2216"/>
                <a:gd name="T8" fmla="*/ 2556 w 2556"/>
                <a:gd name="T9" fmla="*/ 1108 h 2216"/>
                <a:gd name="T10" fmla="*/ 1917 w 2556"/>
                <a:gd name="T11" fmla="*/ 2216 h 2216"/>
                <a:gd name="T12" fmla="*/ 639 w 2556"/>
                <a:gd name="T13" fmla="*/ 2216 h 2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56" h="2216">
                  <a:moveTo>
                    <a:pt x="639" y="2216"/>
                  </a:moveTo>
                  <a:lnTo>
                    <a:pt x="0" y="1108"/>
                  </a:lnTo>
                  <a:lnTo>
                    <a:pt x="639" y="0"/>
                  </a:lnTo>
                  <a:lnTo>
                    <a:pt x="1917" y="0"/>
                  </a:lnTo>
                  <a:lnTo>
                    <a:pt x="2556" y="1108"/>
                  </a:lnTo>
                  <a:lnTo>
                    <a:pt x="1917" y="2216"/>
                  </a:lnTo>
                  <a:lnTo>
                    <a:pt x="639" y="2216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9AE3117D-69BC-20BD-546E-597C8B167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0618" y="4062741"/>
              <a:ext cx="1676728" cy="726683"/>
            </a:xfrm>
            <a:custGeom>
              <a:avLst/>
              <a:gdLst>
                <a:gd name="T0" fmla="*/ 556 w 2222"/>
                <a:gd name="T1" fmla="*/ 963 h 963"/>
                <a:gd name="T2" fmla="*/ 0 w 2222"/>
                <a:gd name="T3" fmla="*/ 0 h 963"/>
                <a:gd name="T4" fmla="*/ 2222 w 2222"/>
                <a:gd name="T5" fmla="*/ 0 h 963"/>
                <a:gd name="T6" fmla="*/ 1667 w 2222"/>
                <a:gd name="T7" fmla="*/ 963 h 963"/>
                <a:gd name="T8" fmla="*/ 556 w 2222"/>
                <a:gd name="T9" fmla="*/ 963 h 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2" h="963">
                  <a:moveTo>
                    <a:pt x="556" y="963"/>
                  </a:moveTo>
                  <a:lnTo>
                    <a:pt x="0" y="0"/>
                  </a:lnTo>
                  <a:lnTo>
                    <a:pt x="2222" y="0"/>
                  </a:lnTo>
                  <a:lnTo>
                    <a:pt x="1667" y="963"/>
                  </a:lnTo>
                  <a:lnTo>
                    <a:pt x="556" y="963"/>
                  </a:ln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pic>
          <p:nvPicPr>
            <p:cNvPr id="17" name="Grafik 27">
              <a:extLst>
                <a:ext uri="{FF2B5EF4-FFF2-40B4-BE49-F238E27FC236}">
                  <a16:creationId xmlns:a16="http://schemas.microsoft.com/office/drawing/2014/main" id="{602887ED-740C-D3AF-5F41-C0F7A92864A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01503" y="4070461"/>
              <a:ext cx="733998" cy="733998"/>
            </a:xfrm>
            <a:prstGeom prst="rect">
              <a:avLst/>
            </a:prstGeom>
          </p:spPr>
        </p:pic>
        <p:sp>
          <p:nvSpPr>
            <p:cNvPr id="18" name="TextBox 80">
              <a:extLst>
                <a:ext uri="{FF2B5EF4-FFF2-40B4-BE49-F238E27FC236}">
                  <a16:creationId xmlns:a16="http://schemas.microsoft.com/office/drawing/2014/main" id="{FFCC8C14-0C12-A5DE-43BC-837543C17DCD}"/>
                </a:ext>
              </a:extLst>
            </p:cNvPr>
            <p:cNvSpPr txBox="1"/>
            <p:nvPr/>
          </p:nvSpPr>
          <p:spPr>
            <a:xfrm>
              <a:off x="1294025" y="3296581"/>
              <a:ext cx="1766951" cy="70196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 defTabSz="304815"/>
              <a:r>
                <a:rPr lang="en-US" sz="1100" b="1" dirty="0">
                  <a:solidFill>
                    <a:srgbClr val="FFFFFF"/>
                  </a:solidFill>
                </a:rPr>
                <a:t>ALKIS</a:t>
              </a:r>
            </a:p>
            <a:p>
              <a:pPr algn="ctr" defTabSz="304815"/>
              <a:r>
                <a:rPr lang="en-US" sz="1100" b="1" dirty="0" err="1">
                  <a:solidFill>
                    <a:srgbClr val="FFFFFF"/>
                  </a:solidFill>
                </a:rPr>
                <a:t>Pacht</a:t>
              </a:r>
              <a:r>
                <a:rPr lang="en-US" sz="1100" b="1" dirty="0">
                  <a:solidFill>
                    <a:srgbClr val="FFFFFF"/>
                  </a:solidFill>
                </a:rPr>
                <a:t>- und </a:t>
              </a:r>
              <a:r>
                <a:rPr lang="en-US" sz="1100" b="1" dirty="0" err="1">
                  <a:solidFill>
                    <a:srgbClr val="FFFFFF"/>
                  </a:solidFill>
                </a:rPr>
                <a:t>Flächenverwaltung</a:t>
              </a:r>
              <a:endParaRPr lang="en-US" sz="11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9" name="Gruppieren 29">
            <a:extLst>
              <a:ext uri="{FF2B5EF4-FFF2-40B4-BE49-F238E27FC236}">
                <a16:creationId xmlns:a16="http://schemas.microsoft.com/office/drawing/2014/main" id="{F45C075B-FE22-CCBE-EDDD-673D0E87D97A}"/>
              </a:ext>
            </a:extLst>
          </p:cNvPr>
          <p:cNvGrpSpPr/>
          <p:nvPr/>
        </p:nvGrpSpPr>
        <p:grpSpPr>
          <a:xfrm>
            <a:off x="2638723" y="2041739"/>
            <a:ext cx="1647128" cy="1429059"/>
            <a:chOff x="5916665" y="2352035"/>
            <a:chExt cx="1926503" cy="1671446"/>
          </a:xfrm>
        </p:grpSpPr>
        <p:sp>
          <p:nvSpPr>
            <p:cNvPr id="20" name="Freeform 28">
              <a:extLst>
                <a:ext uri="{FF2B5EF4-FFF2-40B4-BE49-F238E27FC236}">
                  <a16:creationId xmlns:a16="http://schemas.microsoft.com/office/drawing/2014/main" id="{A8D2A8AB-E688-3A50-061B-1A19F3FCF3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6665" y="2352035"/>
              <a:ext cx="1926503" cy="1671446"/>
            </a:xfrm>
            <a:custGeom>
              <a:avLst/>
              <a:gdLst>
                <a:gd name="T0" fmla="*/ 638 w 2553"/>
                <a:gd name="T1" fmla="*/ 2215 h 2215"/>
                <a:gd name="T2" fmla="*/ 0 w 2553"/>
                <a:gd name="T3" fmla="*/ 1107 h 2215"/>
                <a:gd name="T4" fmla="*/ 638 w 2553"/>
                <a:gd name="T5" fmla="*/ 0 h 2215"/>
                <a:gd name="T6" fmla="*/ 1915 w 2553"/>
                <a:gd name="T7" fmla="*/ 0 h 2215"/>
                <a:gd name="T8" fmla="*/ 2553 w 2553"/>
                <a:gd name="T9" fmla="*/ 1107 h 2215"/>
                <a:gd name="T10" fmla="*/ 1915 w 2553"/>
                <a:gd name="T11" fmla="*/ 2215 h 2215"/>
                <a:gd name="T12" fmla="*/ 638 w 2553"/>
                <a:gd name="T13" fmla="*/ 2215 h 2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53" h="2215">
                  <a:moveTo>
                    <a:pt x="638" y="2215"/>
                  </a:moveTo>
                  <a:lnTo>
                    <a:pt x="0" y="1107"/>
                  </a:lnTo>
                  <a:lnTo>
                    <a:pt x="638" y="0"/>
                  </a:lnTo>
                  <a:lnTo>
                    <a:pt x="1915" y="0"/>
                  </a:lnTo>
                  <a:lnTo>
                    <a:pt x="2553" y="1107"/>
                  </a:lnTo>
                  <a:lnTo>
                    <a:pt x="1915" y="2215"/>
                  </a:lnTo>
                  <a:lnTo>
                    <a:pt x="638" y="221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21" name="Freeform 29">
              <a:extLst>
                <a:ext uri="{FF2B5EF4-FFF2-40B4-BE49-F238E27FC236}">
                  <a16:creationId xmlns:a16="http://schemas.microsoft.com/office/drawing/2014/main" id="{88E42FBD-AF54-CB70-443B-AC5153EF6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930" y="3187186"/>
              <a:ext cx="1676729" cy="727438"/>
            </a:xfrm>
            <a:custGeom>
              <a:avLst/>
              <a:gdLst>
                <a:gd name="T0" fmla="*/ 555 w 2222"/>
                <a:gd name="T1" fmla="*/ 964 h 964"/>
                <a:gd name="T2" fmla="*/ 0 w 2222"/>
                <a:gd name="T3" fmla="*/ 0 h 964"/>
                <a:gd name="T4" fmla="*/ 2222 w 2222"/>
                <a:gd name="T5" fmla="*/ 0 h 964"/>
                <a:gd name="T6" fmla="*/ 1666 w 2222"/>
                <a:gd name="T7" fmla="*/ 964 h 964"/>
                <a:gd name="T8" fmla="*/ 555 w 2222"/>
                <a:gd name="T9" fmla="*/ 964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2" h="964">
                  <a:moveTo>
                    <a:pt x="555" y="964"/>
                  </a:moveTo>
                  <a:lnTo>
                    <a:pt x="0" y="0"/>
                  </a:lnTo>
                  <a:lnTo>
                    <a:pt x="2222" y="0"/>
                  </a:lnTo>
                  <a:lnTo>
                    <a:pt x="1666" y="964"/>
                  </a:lnTo>
                  <a:lnTo>
                    <a:pt x="555" y="964"/>
                  </a:ln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22" name="TextBox 79">
              <a:extLst>
                <a:ext uri="{FF2B5EF4-FFF2-40B4-BE49-F238E27FC236}">
                  <a16:creationId xmlns:a16="http://schemas.microsoft.com/office/drawing/2014/main" id="{B7E63E35-17D8-9E41-4ACD-06960CCE468E}"/>
                </a:ext>
              </a:extLst>
            </p:cNvPr>
            <p:cNvSpPr txBox="1"/>
            <p:nvPr/>
          </p:nvSpPr>
          <p:spPr>
            <a:xfrm>
              <a:off x="6195486" y="2448020"/>
              <a:ext cx="1382092" cy="70196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 defTabSz="304815"/>
              <a:r>
                <a:rPr lang="en-US" sz="1100" b="1">
                  <a:solidFill>
                    <a:srgbClr val="FFFFFF"/>
                  </a:solidFill>
                </a:rPr>
                <a:t>Machine Management</a:t>
              </a:r>
            </a:p>
            <a:p>
              <a:pPr algn="ctr" defTabSz="304815"/>
              <a:r>
                <a:rPr lang="en-US" sz="1100" b="1" err="1">
                  <a:solidFill>
                    <a:srgbClr val="FFFFFF"/>
                  </a:solidFill>
                </a:rPr>
                <a:t>JDreportsMap</a:t>
              </a:r>
              <a:endParaRPr lang="en-US" sz="1100" b="1">
                <a:solidFill>
                  <a:srgbClr val="FFFFFF"/>
                </a:solidFill>
              </a:endParaRPr>
            </a:p>
          </p:txBody>
        </p:sp>
        <p:grpSp>
          <p:nvGrpSpPr>
            <p:cNvPr id="23" name="Gruppieren 34">
              <a:extLst>
                <a:ext uri="{FF2B5EF4-FFF2-40B4-BE49-F238E27FC236}">
                  <a16:creationId xmlns:a16="http://schemas.microsoft.com/office/drawing/2014/main" id="{453B3408-B31F-BF17-D8C3-181C06E8ED44}"/>
                </a:ext>
              </a:extLst>
            </p:cNvPr>
            <p:cNvGrpSpPr/>
            <p:nvPr/>
          </p:nvGrpSpPr>
          <p:grpSpPr>
            <a:xfrm>
              <a:off x="6532236" y="3224995"/>
              <a:ext cx="916637" cy="697622"/>
              <a:chOff x="6532236" y="3224995"/>
              <a:chExt cx="916637" cy="697622"/>
            </a:xfrm>
          </p:grpSpPr>
          <p:pic>
            <p:nvPicPr>
              <p:cNvPr id="25" name="Grafik 36">
                <a:extLst>
                  <a:ext uri="{FF2B5EF4-FFF2-40B4-BE49-F238E27FC236}">
                    <a16:creationId xmlns:a16="http://schemas.microsoft.com/office/drawing/2014/main" id="{DA8B956C-5D6E-9F78-A2C9-64B3E03688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32236" y="3224995"/>
                <a:ext cx="697622" cy="697622"/>
              </a:xfrm>
              <a:prstGeom prst="rect">
                <a:avLst/>
              </a:prstGeom>
            </p:spPr>
          </p:pic>
          <p:pic>
            <p:nvPicPr>
              <p:cNvPr id="26" name="Grafik 37">
                <a:extLst>
                  <a:ext uri="{FF2B5EF4-FFF2-40B4-BE49-F238E27FC236}">
                    <a16:creationId xmlns:a16="http://schemas.microsoft.com/office/drawing/2014/main" id="{FC6C8186-7704-AA9C-71D0-6D0532BEA7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135353" y="3267929"/>
                <a:ext cx="313520" cy="313520"/>
              </a:xfrm>
              <a:prstGeom prst="rect">
                <a:avLst/>
              </a:prstGeom>
            </p:spPr>
          </p:pic>
        </p:grpSp>
        <p:sp>
          <p:nvSpPr>
            <p:cNvPr id="24" name="Interaktive Schaltfläche: Anpassen 35">
              <a:hlinkClick r:id="" action="ppaction://noaction" highlightClick="1"/>
              <a:extLst>
                <a:ext uri="{FF2B5EF4-FFF2-40B4-BE49-F238E27FC236}">
                  <a16:creationId xmlns:a16="http://schemas.microsoft.com/office/drawing/2014/main" id="{6A346E4E-5F23-A57A-CB46-5C25C95FA3F0}"/>
                </a:ext>
              </a:extLst>
            </p:cNvPr>
            <p:cNvSpPr/>
            <p:nvPr/>
          </p:nvSpPr>
          <p:spPr>
            <a:xfrm>
              <a:off x="6250804" y="2691874"/>
              <a:ext cx="1258222" cy="1024008"/>
            </a:xfrm>
            <a:prstGeom prst="actionButtonBlank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27" name="Gruppieren 38">
            <a:extLst>
              <a:ext uri="{FF2B5EF4-FFF2-40B4-BE49-F238E27FC236}">
                <a16:creationId xmlns:a16="http://schemas.microsoft.com/office/drawing/2014/main" id="{4AE83418-BEE3-C6E8-76FA-50F622D8307F}"/>
              </a:ext>
            </a:extLst>
          </p:cNvPr>
          <p:cNvGrpSpPr/>
          <p:nvPr/>
        </p:nvGrpSpPr>
        <p:grpSpPr>
          <a:xfrm>
            <a:off x="1304690" y="4330867"/>
            <a:ext cx="1647128" cy="1429059"/>
            <a:chOff x="1204285" y="5010370"/>
            <a:chExt cx="1926503" cy="1671446"/>
          </a:xfrm>
        </p:grpSpPr>
        <p:sp>
          <p:nvSpPr>
            <p:cNvPr id="28" name="Freeform 28">
              <a:extLst>
                <a:ext uri="{FF2B5EF4-FFF2-40B4-BE49-F238E27FC236}">
                  <a16:creationId xmlns:a16="http://schemas.microsoft.com/office/drawing/2014/main" id="{D0A65CD0-9762-1022-D48A-3AB16A783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4285" y="5010370"/>
              <a:ext cx="1926503" cy="1671446"/>
            </a:xfrm>
            <a:custGeom>
              <a:avLst/>
              <a:gdLst>
                <a:gd name="T0" fmla="*/ 638 w 2553"/>
                <a:gd name="T1" fmla="*/ 2215 h 2215"/>
                <a:gd name="T2" fmla="*/ 0 w 2553"/>
                <a:gd name="T3" fmla="*/ 1107 h 2215"/>
                <a:gd name="T4" fmla="*/ 638 w 2553"/>
                <a:gd name="T5" fmla="*/ 0 h 2215"/>
                <a:gd name="T6" fmla="*/ 1915 w 2553"/>
                <a:gd name="T7" fmla="*/ 0 h 2215"/>
                <a:gd name="T8" fmla="*/ 2553 w 2553"/>
                <a:gd name="T9" fmla="*/ 1107 h 2215"/>
                <a:gd name="T10" fmla="*/ 1915 w 2553"/>
                <a:gd name="T11" fmla="*/ 2215 h 2215"/>
                <a:gd name="T12" fmla="*/ 638 w 2553"/>
                <a:gd name="T13" fmla="*/ 2215 h 2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53" h="2215">
                  <a:moveTo>
                    <a:pt x="638" y="2215"/>
                  </a:moveTo>
                  <a:lnTo>
                    <a:pt x="0" y="1107"/>
                  </a:lnTo>
                  <a:lnTo>
                    <a:pt x="638" y="0"/>
                  </a:lnTo>
                  <a:lnTo>
                    <a:pt x="1915" y="0"/>
                  </a:lnTo>
                  <a:lnTo>
                    <a:pt x="2553" y="1107"/>
                  </a:lnTo>
                  <a:lnTo>
                    <a:pt x="1915" y="2215"/>
                  </a:lnTo>
                  <a:lnTo>
                    <a:pt x="638" y="2215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29" name="Freeform 29">
              <a:extLst>
                <a:ext uri="{FF2B5EF4-FFF2-40B4-BE49-F238E27FC236}">
                  <a16:creationId xmlns:a16="http://schemas.microsoft.com/office/drawing/2014/main" id="{9560C949-0CBF-D198-5210-6E3C1BF2C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550" y="5845910"/>
              <a:ext cx="1676729" cy="727438"/>
            </a:xfrm>
            <a:custGeom>
              <a:avLst/>
              <a:gdLst>
                <a:gd name="T0" fmla="*/ 555 w 2222"/>
                <a:gd name="T1" fmla="*/ 964 h 964"/>
                <a:gd name="T2" fmla="*/ 0 w 2222"/>
                <a:gd name="T3" fmla="*/ 0 h 964"/>
                <a:gd name="T4" fmla="*/ 2222 w 2222"/>
                <a:gd name="T5" fmla="*/ 0 h 964"/>
                <a:gd name="T6" fmla="*/ 1666 w 2222"/>
                <a:gd name="T7" fmla="*/ 964 h 964"/>
                <a:gd name="T8" fmla="*/ 555 w 2222"/>
                <a:gd name="T9" fmla="*/ 964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2" h="964">
                  <a:moveTo>
                    <a:pt x="555" y="964"/>
                  </a:moveTo>
                  <a:lnTo>
                    <a:pt x="0" y="0"/>
                  </a:lnTo>
                  <a:lnTo>
                    <a:pt x="2222" y="0"/>
                  </a:lnTo>
                  <a:lnTo>
                    <a:pt x="1666" y="964"/>
                  </a:lnTo>
                  <a:lnTo>
                    <a:pt x="555" y="964"/>
                  </a:ln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0" name="TextBox 81">
              <a:extLst>
                <a:ext uri="{FF2B5EF4-FFF2-40B4-BE49-F238E27FC236}">
                  <a16:creationId xmlns:a16="http://schemas.microsoft.com/office/drawing/2014/main" id="{67CD6521-0A0C-EBE6-A99E-E0F9B3AE253E}"/>
                </a:ext>
              </a:extLst>
            </p:cNvPr>
            <p:cNvSpPr txBox="1"/>
            <p:nvPr/>
          </p:nvSpPr>
          <p:spPr>
            <a:xfrm>
              <a:off x="1482370" y="5211963"/>
              <a:ext cx="1382092" cy="43088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 defTabSz="304815"/>
              <a:r>
                <a:rPr lang="en-US" sz="1100" b="1">
                  <a:solidFill>
                    <a:srgbClr val="FFFFFF"/>
                  </a:solidFill>
                </a:rPr>
                <a:t>Smartphone</a:t>
              </a:r>
            </a:p>
            <a:p>
              <a:pPr algn="ctr" defTabSz="304815"/>
              <a:r>
                <a:rPr lang="en-US" sz="1100" b="1">
                  <a:solidFill>
                    <a:srgbClr val="FFFFFF"/>
                  </a:solidFill>
                </a:rPr>
                <a:t>Apps</a:t>
              </a:r>
            </a:p>
          </p:txBody>
        </p:sp>
        <p:pic>
          <p:nvPicPr>
            <p:cNvPr id="31" name="Grafik 42">
              <a:extLst>
                <a:ext uri="{FF2B5EF4-FFF2-40B4-BE49-F238E27FC236}">
                  <a16:creationId xmlns:a16="http://schemas.microsoft.com/office/drawing/2014/main" id="{AFA9D831-9C65-8E31-165C-4ABEAF557BF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47839" y="5924395"/>
              <a:ext cx="551763" cy="570467"/>
            </a:xfrm>
            <a:prstGeom prst="rect">
              <a:avLst/>
            </a:prstGeom>
          </p:spPr>
        </p:pic>
      </p:grpSp>
      <p:grpSp>
        <p:nvGrpSpPr>
          <p:cNvPr id="32" name="Gruppieren 43">
            <a:extLst>
              <a:ext uri="{FF2B5EF4-FFF2-40B4-BE49-F238E27FC236}">
                <a16:creationId xmlns:a16="http://schemas.microsoft.com/office/drawing/2014/main" id="{0E0575C5-A631-0BBB-E51B-460896FDD561}"/>
              </a:ext>
            </a:extLst>
          </p:cNvPr>
          <p:cNvGrpSpPr/>
          <p:nvPr/>
        </p:nvGrpSpPr>
        <p:grpSpPr>
          <a:xfrm>
            <a:off x="9200390" y="2799973"/>
            <a:ext cx="1647128" cy="1429059"/>
            <a:chOff x="7483033" y="3235401"/>
            <a:chExt cx="1926503" cy="1671446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C4FB6D6F-7FFA-AD23-6AAC-5F5694BDF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3033" y="3235401"/>
              <a:ext cx="1926503" cy="1671446"/>
            </a:xfrm>
            <a:custGeom>
              <a:avLst/>
              <a:gdLst>
                <a:gd name="T0" fmla="*/ 639 w 2553"/>
                <a:gd name="T1" fmla="*/ 2215 h 2215"/>
                <a:gd name="T2" fmla="*/ 0 w 2553"/>
                <a:gd name="T3" fmla="*/ 1107 h 2215"/>
                <a:gd name="T4" fmla="*/ 639 w 2553"/>
                <a:gd name="T5" fmla="*/ 0 h 2215"/>
                <a:gd name="T6" fmla="*/ 1915 w 2553"/>
                <a:gd name="T7" fmla="*/ 0 h 2215"/>
                <a:gd name="T8" fmla="*/ 2553 w 2553"/>
                <a:gd name="T9" fmla="*/ 1107 h 2215"/>
                <a:gd name="T10" fmla="*/ 1915 w 2553"/>
                <a:gd name="T11" fmla="*/ 2215 h 2215"/>
                <a:gd name="T12" fmla="*/ 639 w 2553"/>
                <a:gd name="T13" fmla="*/ 2215 h 2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53" h="2215">
                  <a:moveTo>
                    <a:pt x="639" y="2215"/>
                  </a:moveTo>
                  <a:lnTo>
                    <a:pt x="0" y="1107"/>
                  </a:lnTo>
                  <a:lnTo>
                    <a:pt x="639" y="0"/>
                  </a:lnTo>
                  <a:lnTo>
                    <a:pt x="1915" y="0"/>
                  </a:lnTo>
                  <a:lnTo>
                    <a:pt x="2553" y="1107"/>
                  </a:lnTo>
                  <a:lnTo>
                    <a:pt x="1915" y="2215"/>
                  </a:lnTo>
                  <a:lnTo>
                    <a:pt x="639" y="2215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1978F76C-0E83-CDCA-3D12-E7A1CC1BC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8297" y="4070552"/>
              <a:ext cx="1676729" cy="727438"/>
            </a:xfrm>
            <a:custGeom>
              <a:avLst/>
              <a:gdLst>
                <a:gd name="T0" fmla="*/ 555 w 2222"/>
                <a:gd name="T1" fmla="*/ 964 h 964"/>
                <a:gd name="T2" fmla="*/ 0 w 2222"/>
                <a:gd name="T3" fmla="*/ 0 h 964"/>
                <a:gd name="T4" fmla="*/ 2222 w 2222"/>
                <a:gd name="T5" fmla="*/ 0 h 964"/>
                <a:gd name="T6" fmla="*/ 1666 w 2222"/>
                <a:gd name="T7" fmla="*/ 964 h 964"/>
                <a:gd name="T8" fmla="*/ 555 w 2222"/>
                <a:gd name="T9" fmla="*/ 964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2" h="964">
                  <a:moveTo>
                    <a:pt x="555" y="964"/>
                  </a:moveTo>
                  <a:lnTo>
                    <a:pt x="0" y="0"/>
                  </a:lnTo>
                  <a:lnTo>
                    <a:pt x="2222" y="0"/>
                  </a:lnTo>
                  <a:lnTo>
                    <a:pt x="1666" y="964"/>
                  </a:lnTo>
                  <a:lnTo>
                    <a:pt x="555" y="964"/>
                  </a:ln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5" name="TextBox 80">
              <a:extLst>
                <a:ext uri="{FF2B5EF4-FFF2-40B4-BE49-F238E27FC236}">
                  <a16:creationId xmlns:a16="http://schemas.microsoft.com/office/drawing/2014/main" id="{5DEA0A8F-46D7-859E-2F31-3B4D8E6E95BF}"/>
                </a:ext>
              </a:extLst>
            </p:cNvPr>
            <p:cNvSpPr txBox="1"/>
            <p:nvPr/>
          </p:nvSpPr>
          <p:spPr>
            <a:xfrm>
              <a:off x="7795632" y="3480289"/>
              <a:ext cx="1382092" cy="305982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 defTabSz="304815"/>
              <a:r>
                <a:rPr lang="en-US" sz="1100" b="1" dirty="0" err="1">
                  <a:solidFill>
                    <a:srgbClr val="FFFFFF"/>
                  </a:solidFill>
                </a:rPr>
                <a:t>Beregnung</a:t>
              </a:r>
              <a:endParaRPr lang="en-US" sz="1100" b="1" dirty="0">
                <a:solidFill>
                  <a:srgbClr val="FFFFFF"/>
                </a:solidFill>
              </a:endParaRPr>
            </a:p>
          </p:txBody>
        </p:sp>
        <p:pic>
          <p:nvPicPr>
            <p:cNvPr id="36" name="Grafik 47">
              <a:extLst>
                <a:ext uri="{FF2B5EF4-FFF2-40B4-BE49-F238E27FC236}">
                  <a16:creationId xmlns:a16="http://schemas.microsoft.com/office/drawing/2014/main" id="{2701F7AB-D21B-7E53-BDB5-25E006171E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44257" y="4098423"/>
              <a:ext cx="640155" cy="640155"/>
            </a:xfrm>
            <a:prstGeom prst="rect">
              <a:avLst/>
            </a:prstGeom>
          </p:spPr>
        </p:pic>
      </p:grpSp>
      <p:grpSp>
        <p:nvGrpSpPr>
          <p:cNvPr id="37" name="Gruppieren 48">
            <a:extLst>
              <a:ext uri="{FF2B5EF4-FFF2-40B4-BE49-F238E27FC236}">
                <a16:creationId xmlns:a16="http://schemas.microsoft.com/office/drawing/2014/main" id="{38B2F8AC-FBF7-CF82-BFFD-58B60822F266}"/>
              </a:ext>
            </a:extLst>
          </p:cNvPr>
          <p:cNvGrpSpPr/>
          <p:nvPr/>
        </p:nvGrpSpPr>
        <p:grpSpPr>
          <a:xfrm>
            <a:off x="7885635" y="2059745"/>
            <a:ext cx="1647128" cy="1429059"/>
            <a:chOff x="9057933" y="2374999"/>
            <a:chExt cx="1926503" cy="1671446"/>
          </a:xfrm>
        </p:grpSpPr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4CDE72C4-C04D-715A-FBFE-9444370FA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7933" y="2374999"/>
              <a:ext cx="1926503" cy="1671446"/>
            </a:xfrm>
            <a:custGeom>
              <a:avLst/>
              <a:gdLst>
                <a:gd name="T0" fmla="*/ 638 w 2553"/>
                <a:gd name="T1" fmla="*/ 2215 h 2215"/>
                <a:gd name="T2" fmla="*/ 0 w 2553"/>
                <a:gd name="T3" fmla="*/ 1107 h 2215"/>
                <a:gd name="T4" fmla="*/ 638 w 2553"/>
                <a:gd name="T5" fmla="*/ 0 h 2215"/>
                <a:gd name="T6" fmla="*/ 1915 w 2553"/>
                <a:gd name="T7" fmla="*/ 0 h 2215"/>
                <a:gd name="T8" fmla="*/ 2553 w 2553"/>
                <a:gd name="T9" fmla="*/ 1107 h 2215"/>
                <a:gd name="T10" fmla="*/ 1915 w 2553"/>
                <a:gd name="T11" fmla="*/ 2215 h 2215"/>
                <a:gd name="T12" fmla="*/ 638 w 2553"/>
                <a:gd name="T13" fmla="*/ 2215 h 2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53" h="2215">
                  <a:moveTo>
                    <a:pt x="638" y="2215"/>
                  </a:moveTo>
                  <a:lnTo>
                    <a:pt x="0" y="1107"/>
                  </a:lnTo>
                  <a:lnTo>
                    <a:pt x="638" y="0"/>
                  </a:lnTo>
                  <a:lnTo>
                    <a:pt x="1915" y="0"/>
                  </a:lnTo>
                  <a:lnTo>
                    <a:pt x="2553" y="1107"/>
                  </a:lnTo>
                  <a:lnTo>
                    <a:pt x="1915" y="2215"/>
                  </a:lnTo>
                  <a:lnTo>
                    <a:pt x="638" y="2215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F3B2ECD8-A372-4ECA-5CB1-3BC2BA05B72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3198" y="3210539"/>
              <a:ext cx="1676729" cy="727438"/>
            </a:xfrm>
            <a:custGeom>
              <a:avLst/>
              <a:gdLst>
                <a:gd name="T0" fmla="*/ 555 w 2222"/>
                <a:gd name="T1" fmla="*/ 964 h 964"/>
                <a:gd name="T2" fmla="*/ 0 w 2222"/>
                <a:gd name="T3" fmla="*/ 0 h 964"/>
                <a:gd name="T4" fmla="*/ 2222 w 2222"/>
                <a:gd name="T5" fmla="*/ 0 h 964"/>
                <a:gd name="T6" fmla="*/ 1666 w 2222"/>
                <a:gd name="T7" fmla="*/ 964 h 964"/>
                <a:gd name="T8" fmla="*/ 555 w 2222"/>
                <a:gd name="T9" fmla="*/ 964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2" h="964">
                  <a:moveTo>
                    <a:pt x="555" y="964"/>
                  </a:moveTo>
                  <a:lnTo>
                    <a:pt x="0" y="0"/>
                  </a:lnTo>
                  <a:lnTo>
                    <a:pt x="2222" y="0"/>
                  </a:lnTo>
                  <a:lnTo>
                    <a:pt x="1666" y="964"/>
                  </a:lnTo>
                  <a:lnTo>
                    <a:pt x="555" y="964"/>
                  </a:ln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40" name="TextBox 81">
              <a:extLst>
                <a:ext uri="{FF2B5EF4-FFF2-40B4-BE49-F238E27FC236}">
                  <a16:creationId xmlns:a16="http://schemas.microsoft.com/office/drawing/2014/main" id="{681EB14E-8FCC-0048-F84C-8A1D0F5AE58A}"/>
                </a:ext>
              </a:extLst>
            </p:cNvPr>
            <p:cNvSpPr txBox="1"/>
            <p:nvPr/>
          </p:nvSpPr>
          <p:spPr>
            <a:xfrm>
              <a:off x="9365880" y="2626053"/>
              <a:ext cx="1382092" cy="26161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 defTabSz="304815"/>
              <a:r>
                <a:rPr lang="en-US" sz="1100" b="1">
                  <a:solidFill>
                    <a:srgbClr val="FFFFFF"/>
                  </a:solidFill>
                </a:rPr>
                <a:t>Controlling</a:t>
              </a:r>
            </a:p>
          </p:txBody>
        </p:sp>
        <p:pic>
          <p:nvPicPr>
            <p:cNvPr id="41" name="Grafik 52">
              <a:extLst>
                <a:ext uri="{FF2B5EF4-FFF2-40B4-BE49-F238E27FC236}">
                  <a16:creationId xmlns:a16="http://schemas.microsoft.com/office/drawing/2014/main" id="{D6008DF0-BD9D-E209-F66A-E81F523E0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71188" y="3228149"/>
              <a:ext cx="705272" cy="705272"/>
            </a:xfrm>
            <a:prstGeom prst="rect">
              <a:avLst/>
            </a:prstGeom>
          </p:spPr>
        </p:pic>
      </p:grpSp>
      <p:grpSp>
        <p:nvGrpSpPr>
          <p:cNvPr id="42" name="Gruppieren 53">
            <a:extLst>
              <a:ext uri="{FF2B5EF4-FFF2-40B4-BE49-F238E27FC236}">
                <a16:creationId xmlns:a16="http://schemas.microsoft.com/office/drawing/2014/main" id="{21C0B46A-5DB6-FAB6-E1FB-8CDCECC3FE07}"/>
              </a:ext>
            </a:extLst>
          </p:cNvPr>
          <p:cNvGrpSpPr/>
          <p:nvPr/>
        </p:nvGrpSpPr>
        <p:grpSpPr>
          <a:xfrm>
            <a:off x="7885635" y="3562115"/>
            <a:ext cx="1647128" cy="1429059"/>
            <a:chOff x="7483033" y="3235401"/>
            <a:chExt cx="1926503" cy="1671446"/>
          </a:xfrm>
        </p:grpSpPr>
        <p:sp>
          <p:nvSpPr>
            <p:cNvPr id="43" name="Freeform 5">
              <a:extLst>
                <a:ext uri="{FF2B5EF4-FFF2-40B4-BE49-F238E27FC236}">
                  <a16:creationId xmlns:a16="http://schemas.microsoft.com/office/drawing/2014/main" id="{2E327D13-86CB-B929-262E-B4CA098B4A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3033" y="3235401"/>
              <a:ext cx="1926503" cy="1671446"/>
            </a:xfrm>
            <a:custGeom>
              <a:avLst/>
              <a:gdLst>
                <a:gd name="T0" fmla="*/ 639 w 2553"/>
                <a:gd name="T1" fmla="*/ 2215 h 2215"/>
                <a:gd name="T2" fmla="*/ 0 w 2553"/>
                <a:gd name="T3" fmla="*/ 1107 h 2215"/>
                <a:gd name="T4" fmla="*/ 639 w 2553"/>
                <a:gd name="T5" fmla="*/ 0 h 2215"/>
                <a:gd name="T6" fmla="*/ 1915 w 2553"/>
                <a:gd name="T7" fmla="*/ 0 h 2215"/>
                <a:gd name="T8" fmla="*/ 2553 w 2553"/>
                <a:gd name="T9" fmla="*/ 1107 h 2215"/>
                <a:gd name="T10" fmla="*/ 1915 w 2553"/>
                <a:gd name="T11" fmla="*/ 2215 h 2215"/>
                <a:gd name="T12" fmla="*/ 639 w 2553"/>
                <a:gd name="T13" fmla="*/ 2215 h 2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53" h="2215">
                  <a:moveTo>
                    <a:pt x="639" y="2215"/>
                  </a:moveTo>
                  <a:lnTo>
                    <a:pt x="0" y="1107"/>
                  </a:lnTo>
                  <a:lnTo>
                    <a:pt x="639" y="0"/>
                  </a:lnTo>
                  <a:lnTo>
                    <a:pt x="1915" y="0"/>
                  </a:lnTo>
                  <a:lnTo>
                    <a:pt x="2553" y="1107"/>
                  </a:lnTo>
                  <a:lnTo>
                    <a:pt x="1915" y="2215"/>
                  </a:lnTo>
                  <a:lnTo>
                    <a:pt x="639" y="2215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44" name="Freeform 6">
              <a:extLst>
                <a:ext uri="{FF2B5EF4-FFF2-40B4-BE49-F238E27FC236}">
                  <a16:creationId xmlns:a16="http://schemas.microsoft.com/office/drawing/2014/main" id="{B3FA5F62-FB4C-507C-A3F9-3C29894D6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8297" y="4070552"/>
              <a:ext cx="1676729" cy="727438"/>
            </a:xfrm>
            <a:custGeom>
              <a:avLst/>
              <a:gdLst>
                <a:gd name="T0" fmla="*/ 555 w 2222"/>
                <a:gd name="T1" fmla="*/ 964 h 964"/>
                <a:gd name="T2" fmla="*/ 0 w 2222"/>
                <a:gd name="T3" fmla="*/ 0 h 964"/>
                <a:gd name="T4" fmla="*/ 2222 w 2222"/>
                <a:gd name="T5" fmla="*/ 0 h 964"/>
                <a:gd name="T6" fmla="*/ 1666 w 2222"/>
                <a:gd name="T7" fmla="*/ 964 h 964"/>
                <a:gd name="T8" fmla="*/ 555 w 2222"/>
                <a:gd name="T9" fmla="*/ 964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2" h="964">
                  <a:moveTo>
                    <a:pt x="555" y="964"/>
                  </a:moveTo>
                  <a:lnTo>
                    <a:pt x="0" y="0"/>
                  </a:lnTo>
                  <a:lnTo>
                    <a:pt x="2222" y="0"/>
                  </a:lnTo>
                  <a:lnTo>
                    <a:pt x="1666" y="964"/>
                  </a:lnTo>
                  <a:lnTo>
                    <a:pt x="555" y="964"/>
                  </a:ln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45" name="TextBox 80">
              <a:extLst>
                <a:ext uri="{FF2B5EF4-FFF2-40B4-BE49-F238E27FC236}">
                  <a16:creationId xmlns:a16="http://schemas.microsoft.com/office/drawing/2014/main" id="{97EA0664-3EAF-22F2-96ED-F0E49D264FA0}"/>
                </a:ext>
              </a:extLst>
            </p:cNvPr>
            <p:cNvSpPr txBox="1"/>
            <p:nvPr/>
          </p:nvSpPr>
          <p:spPr>
            <a:xfrm>
              <a:off x="7766196" y="3372688"/>
              <a:ext cx="1382092" cy="70196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 defTabSz="304815"/>
              <a:r>
                <a:rPr lang="en-US" sz="1100" b="1" dirty="0" err="1">
                  <a:solidFill>
                    <a:srgbClr val="FFFFFF"/>
                  </a:solidFill>
                </a:rPr>
                <a:t>Sensoren</a:t>
              </a:r>
              <a:r>
                <a:rPr lang="en-US" sz="1100" b="1" dirty="0">
                  <a:solidFill>
                    <a:srgbClr val="FFFFFF"/>
                  </a:solidFill>
                </a:rPr>
                <a:t> und Prognose-</a:t>
              </a:r>
              <a:r>
                <a:rPr lang="en-US" sz="1100" b="1" dirty="0" err="1">
                  <a:solidFill>
                    <a:srgbClr val="FFFFFF"/>
                  </a:solidFill>
                </a:rPr>
                <a:t>modelle</a:t>
              </a:r>
              <a:endParaRPr lang="en-US" sz="1100" b="1" dirty="0">
                <a:solidFill>
                  <a:srgbClr val="FFFFFF"/>
                </a:solidFill>
              </a:endParaRPr>
            </a:p>
          </p:txBody>
        </p:sp>
        <p:pic>
          <p:nvPicPr>
            <p:cNvPr id="46" name="Grafik 57">
              <a:extLst>
                <a:ext uri="{FF2B5EF4-FFF2-40B4-BE49-F238E27FC236}">
                  <a16:creationId xmlns:a16="http://schemas.microsoft.com/office/drawing/2014/main" id="{35035406-8B45-2AFC-3AD1-38D4AF07CE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54554" y="4098423"/>
              <a:ext cx="619561" cy="640155"/>
            </a:xfrm>
            <a:prstGeom prst="rect">
              <a:avLst/>
            </a:prstGeom>
          </p:spPr>
        </p:pic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84E310A4-2EA6-78DC-BF98-5BE4219E2466}"/>
              </a:ext>
            </a:extLst>
          </p:cNvPr>
          <p:cNvGrpSpPr/>
          <p:nvPr/>
        </p:nvGrpSpPr>
        <p:grpSpPr>
          <a:xfrm>
            <a:off x="6578608" y="4316731"/>
            <a:ext cx="1647128" cy="1429059"/>
            <a:chOff x="7483033" y="3235401"/>
            <a:chExt cx="1926503" cy="1671446"/>
          </a:xfrm>
        </p:grpSpPr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5B9BD49D-4BCE-5CDA-B1BD-5A533628C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3033" y="3235401"/>
              <a:ext cx="1926503" cy="1671446"/>
            </a:xfrm>
            <a:custGeom>
              <a:avLst/>
              <a:gdLst>
                <a:gd name="T0" fmla="*/ 639 w 2553"/>
                <a:gd name="T1" fmla="*/ 2215 h 2215"/>
                <a:gd name="T2" fmla="*/ 0 w 2553"/>
                <a:gd name="T3" fmla="*/ 1107 h 2215"/>
                <a:gd name="T4" fmla="*/ 639 w 2553"/>
                <a:gd name="T5" fmla="*/ 0 h 2215"/>
                <a:gd name="T6" fmla="*/ 1915 w 2553"/>
                <a:gd name="T7" fmla="*/ 0 h 2215"/>
                <a:gd name="T8" fmla="*/ 2553 w 2553"/>
                <a:gd name="T9" fmla="*/ 1107 h 2215"/>
                <a:gd name="T10" fmla="*/ 1915 w 2553"/>
                <a:gd name="T11" fmla="*/ 2215 h 2215"/>
                <a:gd name="T12" fmla="*/ 639 w 2553"/>
                <a:gd name="T13" fmla="*/ 2215 h 2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53" h="2215">
                  <a:moveTo>
                    <a:pt x="639" y="2215"/>
                  </a:moveTo>
                  <a:lnTo>
                    <a:pt x="0" y="1107"/>
                  </a:lnTo>
                  <a:lnTo>
                    <a:pt x="639" y="0"/>
                  </a:lnTo>
                  <a:lnTo>
                    <a:pt x="1915" y="0"/>
                  </a:lnTo>
                  <a:lnTo>
                    <a:pt x="2553" y="1107"/>
                  </a:lnTo>
                  <a:lnTo>
                    <a:pt x="1915" y="2215"/>
                  </a:lnTo>
                  <a:lnTo>
                    <a:pt x="639" y="2215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0BC5038A-3D23-5568-EE05-AD2812115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8298" y="4070551"/>
              <a:ext cx="1676729" cy="727438"/>
            </a:xfrm>
            <a:custGeom>
              <a:avLst/>
              <a:gdLst>
                <a:gd name="T0" fmla="*/ 555 w 2222"/>
                <a:gd name="T1" fmla="*/ 964 h 964"/>
                <a:gd name="T2" fmla="*/ 0 w 2222"/>
                <a:gd name="T3" fmla="*/ 0 h 964"/>
                <a:gd name="T4" fmla="*/ 2222 w 2222"/>
                <a:gd name="T5" fmla="*/ 0 h 964"/>
                <a:gd name="T6" fmla="*/ 1666 w 2222"/>
                <a:gd name="T7" fmla="*/ 964 h 964"/>
                <a:gd name="T8" fmla="*/ 555 w 2222"/>
                <a:gd name="T9" fmla="*/ 964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2" h="964">
                  <a:moveTo>
                    <a:pt x="555" y="964"/>
                  </a:moveTo>
                  <a:lnTo>
                    <a:pt x="0" y="0"/>
                  </a:lnTo>
                  <a:lnTo>
                    <a:pt x="2222" y="0"/>
                  </a:lnTo>
                  <a:lnTo>
                    <a:pt x="1666" y="964"/>
                  </a:lnTo>
                  <a:lnTo>
                    <a:pt x="555" y="964"/>
                  </a:ln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50" name="TextBox 80">
              <a:extLst>
                <a:ext uri="{FF2B5EF4-FFF2-40B4-BE49-F238E27FC236}">
                  <a16:creationId xmlns:a16="http://schemas.microsoft.com/office/drawing/2014/main" id="{14D41227-DFCF-6121-A926-1195892901DB}"/>
                </a:ext>
              </a:extLst>
            </p:cNvPr>
            <p:cNvSpPr txBox="1"/>
            <p:nvPr/>
          </p:nvSpPr>
          <p:spPr>
            <a:xfrm>
              <a:off x="7719428" y="3421530"/>
              <a:ext cx="1516433" cy="50397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 defTabSz="304815"/>
              <a:r>
                <a:rPr lang="en-US" sz="1100" b="1" dirty="0">
                  <a:solidFill>
                    <a:srgbClr val="FFFFFF"/>
                  </a:solidFill>
                </a:rPr>
                <a:t>NEXT Field Services</a:t>
              </a:r>
            </a:p>
          </p:txBody>
        </p:sp>
        <p:pic>
          <p:nvPicPr>
            <p:cNvPr id="51" name="Grafik 62">
              <a:extLst>
                <a:ext uri="{FF2B5EF4-FFF2-40B4-BE49-F238E27FC236}">
                  <a16:creationId xmlns:a16="http://schemas.microsoft.com/office/drawing/2014/main" id="{BCACBE9E-76E9-F582-F711-CE53EC7CD549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44257" y="4098423"/>
              <a:ext cx="640155" cy="640155"/>
            </a:xfrm>
            <a:prstGeom prst="rect">
              <a:avLst/>
            </a:prstGeom>
          </p:spPr>
        </p:pic>
      </p:grpSp>
      <p:grpSp>
        <p:nvGrpSpPr>
          <p:cNvPr id="52" name="Gruppieren 67">
            <a:extLst>
              <a:ext uri="{FF2B5EF4-FFF2-40B4-BE49-F238E27FC236}">
                <a16:creationId xmlns:a16="http://schemas.microsoft.com/office/drawing/2014/main" id="{F2F1ED59-DBE6-DFB7-8FDF-9FA60B0AD068}"/>
              </a:ext>
            </a:extLst>
          </p:cNvPr>
          <p:cNvGrpSpPr/>
          <p:nvPr/>
        </p:nvGrpSpPr>
        <p:grpSpPr>
          <a:xfrm>
            <a:off x="5259199" y="5069997"/>
            <a:ext cx="1647128" cy="1429059"/>
            <a:chOff x="7483033" y="3235401"/>
            <a:chExt cx="1926503" cy="1671446"/>
          </a:xfrm>
        </p:grpSpPr>
        <p:sp>
          <p:nvSpPr>
            <p:cNvPr id="53" name="Freeform 5">
              <a:extLst>
                <a:ext uri="{FF2B5EF4-FFF2-40B4-BE49-F238E27FC236}">
                  <a16:creationId xmlns:a16="http://schemas.microsoft.com/office/drawing/2014/main" id="{7721B50F-1486-D4E8-2DA7-2F27A5CB3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3033" y="3235401"/>
              <a:ext cx="1926503" cy="1671446"/>
            </a:xfrm>
            <a:custGeom>
              <a:avLst/>
              <a:gdLst>
                <a:gd name="T0" fmla="*/ 639 w 2553"/>
                <a:gd name="T1" fmla="*/ 2215 h 2215"/>
                <a:gd name="T2" fmla="*/ 0 w 2553"/>
                <a:gd name="T3" fmla="*/ 1107 h 2215"/>
                <a:gd name="T4" fmla="*/ 639 w 2553"/>
                <a:gd name="T5" fmla="*/ 0 h 2215"/>
                <a:gd name="T6" fmla="*/ 1915 w 2553"/>
                <a:gd name="T7" fmla="*/ 0 h 2215"/>
                <a:gd name="T8" fmla="*/ 2553 w 2553"/>
                <a:gd name="T9" fmla="*/ 1107 h 2215"/>
                <a:gd name="T10" fmla="*/ 1915 w 2553"/>
                <a:gd name="T11" fmla="*/ 2215 h 2215"/>
                <a:gd name="T12" fmla="*/ 639 w 2553"/>
                <a:gd name="T13" fmla="*/ 2215 h 2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53" h="2215">
                  <a:moveTo>
                    <a:pt x="639" y="2215"/>
                  </a:moveTo>
                  <a:lnTo>
                    <a:pt x="0" y="1107"/>
                  </a:lnTo>
                  <a:lnTo>
                    <a:pt x="639" y="0"/>
                  </a:lnTo>
                  <a:lnTo>
                    <a:pt x="1915" y="0"/>
                  </a:lnTo>
                  <a:lnTo>
                    <a:pt x="2553" y="1107"/>
                  </a:lnTo>
                  <a:lnTo>
                    <a:pt x="1915" y="2215"/>
                  </a:lnTo>
                  <a:lnTo>
                    <a:pt x="639" y="2215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3B85875E-B672-49E7-E3EF-C3FEFCEB0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8297" y="4070552"/>
              <a:ext cx="1676729" cy="727438"/>
            </a:xfrm>
            <a:custGeom>
              <a:avLst/>
              <a:gdLst>
                <a:gd name="T0" fmla="*/ 555 w 2222"/>
                <a:gd name="T1" fmla="*/ 964 h 964"/>
                <a:gd name="T2" fmla="*/ 0 w 2222"/>
                <a:gd name="T3" fmla="*/ 0 h 964"/>
                <a:gd name="T4" fmla="*/ 2222 w 2222"/>
                <a:gd name="T5" fmla="*/ 0 h 964"/>
                <a:gd name="T6" fmla="*/ 1666 w 2222"/>
                <a:gd name="T7" fmla="*/ 964 h 964"/>
                <a:gd name="T8" fmla="*/ 555 w 2222"/>
                <a:gd name="T9" fmla="*/ 964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2" h="964">
                  <a:moveTo>
                    <a:pt x="555" y="964"/>
                  </a:moveTo>
                  <a:lnTo>
                    <a:pt x="0" y="0"/>
                  </a:lnTo>
                  <a:lnTo>
                    <a:pt x="2222" y="0"/>
                  </a:lnTo>
                  <a:lnTo>
                    <a:pt x="1666" y="964"/>
                  </a:lnTo>
                  <a:lnTo>
                    <a:pt x="555" y="964"/>
                  </a:ln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55" name="TextBox 80">
              <a:extLst>
                <a:ext uri="{FF2B5EF4-FFF2-40B4-BE49-F238E27FC236}">
                  <a16:creationId xmlns:a16="http://schemas.microsoft.com/office/drawing/2014/main" id="{BCC037D3-2744-B400-1696-B0AA9A3698E1}"/>
                </a:ext>
              </a:extLst>
            </p:cNvPr>
            <p:cNvSpPr txBox="1"/>
            <p:nvPr/>
          </p:nvSpPr>
          <p:spPr>
            <a:xfrm>
              <a:off x="7795632" y="3409779"/>
              <a:ext cx="1382092" cy="43088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 defTabSz="304815"/>
              <a:r>
                <a:rPr lang="en-US" sz="1100" b="1">
                  <a:solidFill>
                    <a:srgbClr val="FFFFFF"/>
                  </a:solidFill>
                </a:rPr>
                <a:t>Farm &amp; Field</a:t>
              </a:r>
            </a:p>
            <a:p>
              <a:pPr algn="ctr" defTabSz="304815"/>
              <a:r>
                <a:rPr lang="en-US" sz="1100" b="1">
                  <a:solidFill>
                    <a:srgbClr val="FFFFFF"/>
                  </a:solidFill>
                </a:rPr>
                <a:t>Monitoring</a:t>
              </a:r>
            </a:p>
          </p:txBody>
        </p:sp>
        <p:pic>
          <p:nvPicPr>
            <p:cNvPr id="56" name="Grafik 71">
              <a:extLst>
                <a:ext uri="{FF2B5EF4-FFF2-40B4-BE49-F238E27FC236}">
                  <a16:creationId xmlns:a16="http://schemas.microsoft.com/office/drawing/2014/main" id="{46586B26-878B-CCD4-C7D6-7D66FE46B49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44257" y="4098423"/>
              <a:ext cx="640155" cy="640155"/>
            </a:xfrm>
            <a:prstGeom prst="rect">
              <a:avLst/>
            </a:prstGeom>
          </p:spPr>
        </p:pic>
      </p:grpSp>
      <p:grpSp>
        <p:nvGrpSpPr>
          <p:cNvPr id="57" name="Gruppieren 72">
            <a:extLst>
              <a:ext uri="{FF2B5EF4-FFF2-40B4-BE49-F238E27FC236}">
                <a16:creationId xmlns:a16="http://schemas.microsoft.com/office/drawing/2014/main" id="{A6CE829C-B3C3-132C-CA20-B3105721B4FB}"/>
              </a:ext>
            </a:extLst>
          </p:cNvPr>
          <p:cNvGrpSpPr/>
          <p:nvPr/>
        </p:nvGrpSpPr>
        <p:grpSpPr>
          <a:xfrm>
            <a:off x="1334290" y="1294309"/>
            <a:ext cx="1648418" cy="1429704"/>
            <a:chOff x="4340256" y="3245879"/>
            <a:chExt cx="1928012" cy="1672201"/>
          </a:xfrm>
        </p:grpSpPr>
        <p:sp>
          <p:nvSpPr>
            <p:cNvPr id="58" name="Freeform 42">
              <a:extLst>
                <a:ext uri="{FF2B5EF4-FFF2-40B4-BE49-F238E27FC236}">
                  <a16:creationId xmlns:a16="http://schemas.microsoft.com/office/drawing/2014/main" id="{19E694B6-2533-FCE9-3C54-932AA49D1E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256" y="3245879"/>
              <a:ext cx="1928012" cy="1672201"/>
            </a:xfrm>
            <a:custGeom>
              <a:avLst/>
              <a:gdLst>
                <a:gd name="T0" fmla="*/ 638 w 2555"/>
                <a:gd name="T1" fmla="*/ 2216 h 2216"/>
                <a:gd name="T2" fmla="*/ 0 w 2555"/>
                <a:gd name="T3" fmla="*/ 1108 h 2216"/>
                <a:gd name="T4" fmla="*/ 638 w 2555"/>
                <a:gd name="T5" fmla="*/ 0 h 2216"/>
                <a:gd name="T6" fmla="*/ 1917 w 2555"/>
                <a:gd name="T7" fmla="*/ 0 h 2216"/>
                <a:gd name="T8" fmla="*/ 2555 w 2555"/>
                <a:gd name="T9" fmla="*/ 1108 h 2216"/>
                <a:gd name="T10" fmla="*/ 1917 w 2555"/>
                <a:gd name="T11" fmla="*/ 2216 h 2216"/>
                <a:gd name="T12" fmla="*/ 638 w 2555"/>
                <a:gd name="T13" fmla="*/ 2216 h 2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55" h="2216">
                  <a:moveTo>
                    <a:pt x="638" y="2216"/>
                  </a:moveTo>
                  <a:lnTo>
                    <a:pt x="0" y="1108"/>
                  </a:lnTo>
                  <a:lnTo>
                    <a:pt x="638" y="0"/>
                  </a:lnTo>
                  <a:lnTo>
                    <a:pt x="1917" y="0"/>
                  </a:lnTo>
                  <a:lnTo>
                    <a:pt x="2555" y="1108"/>
                  </a:lnTo>
                  <a:lnTo>
                    <a:pt x="1917" y="2216"/>
                  </a:lnTo>
                  <a:lnTo>
                    <a:pt x="638" y="2216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59" name="Freeform 43">
              <a:extLst>
                <a:ext uri="{FF2B5EF4-FFF2-40B4-BE49-F238E27FC236}">
                  <a16:creationId xmlns:a16="http://schemas.microsoft.com/office/drawing/2014/main" id="{F62E60DC-823A-3E61-D155-270557CAF7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4766" y="4081980"/>
              <a:ext cx="1676729" cy="726683"/>
            </a:xfrm>
            <a:custGeom>
              <a:avLst/>
              <a:gdLst>
                <a:gd name="T0" fmla="*/ 556 w 2222"/>
                <a:gd name="T1" fmla="*/ 963 h 963"/>
                <a:gd name="T2" fmla="*/ 0 w 2222"/>
                <a:gd name="T3" fmla="*/ 0 h 963"/>
                <a:gd name="T4" fmla="*/ 2222 w 2222"/>
                <a:gd name="T5" fmla="*/ 0 h 963"/>
                <a:gd name="T6" fmla="*/ 1667 w 2222"/>
                <a:gd name="T7" fmla="*/ 963 h 963"/>
                <a:gd name="T8" fmla="*/ 556 w 2222"/>
                <a:gd name="T9" fmla="*/ 963 h 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2" h="963">
                  <a:moveTo>
                    <a:pt x="556" y="963"/>
                  </a:moveTo>
                  <a:lnTo>
                    <a:pt x="0" y="0"/>
                  </a:lnTo>
                  <a:lnTo>
                    <a:pt x="2222" y="0"/>
                  </a:lnTo>
                  <a:lnTo>
                    <a:pt x="1667" y="963"/>
                  </a:lnTo>
                  <a:lnTo>
                    <a:pt x="556" y="963"/>
                  </a:ln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60" name="TextBox 78">
              <a:extLst>
                <a:ext uri="{FF2B5EF4-FFF2-40B4-BE49-F238E27FC236}">
                  <a16:creationId xmlns:a16="http://schemas.microsoft.com/office/drawing/2014/main" id="{04C445F8-7283-06F2-3437-B04C48C08145}"/>
                </a:ext>
              </a:extLst>
            </p:cNvPr>
            <p:cNvSpPr txBox="1"/>
            <p:nvPr/>
          </p:nvSpPr>
          <p:spPr>
            <a:xfrm>
              <a:off x="4517250" y="3453554"/>
              <a:ext cx="1570918" cy="50397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 defTabSz="304815"/>
              <a:r>
                <a:rPr lang="en-GB" sz="1100" b="1" dirty="0" err="1">
                  <a:solidFill>
                    <a:srgbClr val="FFFFFF"/>
                  </a:solidFill>
                </a:rPr>
                <a:t>Erntejahr</a:t>
              </a:r>
              <a:r>
                <a:rPr lang="en-GB" sz="1100" b="1" dirty="0">
                  <a:solidFill>
                    <a:srgbClr val="FFFFFF"/>
                  </a:solidFill>
                </a:rPr>
                <a:t>- und </a:t>
              </a:r>
              <a:r>
                <a:rPr lang="en-GB" sz="1100" b="1" dirty="0" err="1">
                  <a:solidFill>
                    <a:srgbClr val="FFFFFF"/>
                  </a:solidFill>
                </a:rPr>
                <a:t>Kostenplanung</a:t>
              </a:r>
              <a:endParaRPr lang="en-US" sz="1100" b="1" dirty="0">
                <a:solidFill>
                  <a:srgbClr val="FFFFFF"/>
                </a:solidFill>
              </a:endParaRPr>
            </a:p>
          </p:txBody>
        </p:sp>
        <p:pic>
          <p:nvPicPr>
            <p:cNvPr id="61" name="Grafik 76">
              <a:extLst>
                <a:ext uri="{FF2B5EF4-FFF2-40B4-BE49-F238E27FC236}">
                  <a16:creationId xmlns:a16="http://schemas.microsoft.com/office/drawing/2014/main" id="{AB8204F1-258E-4229-3550-20F3D8B26F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80036" y="4127316"/>
              <a:ext cx="636426" cy="636426"/>
            </a:xfrm>
            <a:prstGeom prst="rect">
              <a:avLst/>
            </a:prstGeom>
            <a:noFill/>
          </p:spPr>
        </p:pic>
      </p:grpSp>
      <p:grpSp>
        <p:nvGrpSpPr>
          <p:cNvPr id="62" name="Gruppieren 77">
            <a:extLst>
              <a:ext uri="{FF2B5EF4-FFF2-40B4-BE49-F238E27FC236}">
                <a16:creationId xmlns:a16="http://schemas.microsoft.com/office/drawing/2014/main" id="{B392B64A-38E1-B4CD-394D-1A71D6149FB0}"/>
              </a:ext>
            </a:extLst>
          </p:cNvPr>
          <p:cNvGrpSpPr/>
          <p:nvPr/>
        </p:nvGrpSpPr>
        <p:grpSpPr>
          <a:xfrm>
            <a:off x="7897760" y="5054601"/>
            <a:ext cx="1649062" cy="1429704"/>
            <a:chOff x="1193845" y="3226640"/>
            <a:chExt cx="1928765" cy="1672201"/>
          </a:xfrm>
        </p:grpSpPr>
        <p:sp>
          <p:nvSpPr>
            <p:cNvPr id="63" name="Freeform 16">
              <a:extLst>
                <a:ext uri="{FF2B5EF4-FFF2-40B4-BE49-F238E27FC236}">
                  <a16:creationId xmlns:a16="http://schemas.microsoft.com/office/drawing/2014/main" id="{1BFDA83E-17F6-AEE6-7B29-5AF4FAB169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3845" y="3226640"/>
              <a:ext cx="1928765" cy="1672201"/>
            </a:xfrm>
            <a:custGeom>
              <a:avLst/>
              <a:gdLst>
                <a:gd name="T0" fmla="*/ 639 w 2556"/>
                <a:gd name="T1" fmla="*/ 2216 h 2216"/>
                <a:gd name="T2" fmla="*/ 0 w 2556"/>
                <a:gd name="T3" fmla="*/ 1108 h 2216"/>
                <a:gd name="T4" fmla="*/ 639 w 2556"/>
                <a:gd name="T5" fmla="*/ 0 h 2216"/>
                <a:gd name="T6" fmla="*/ 1917 w 2556"/>
                <a:gd name="T7" fmla="*/ 0 h 2216"/>
                <a:gd name="T8" fmla="*/ 2556 w 2556"/>
                <a:gd name="T9" fmla="*/ 1108 h 2216"/>
                <a:gd name="T10" fmla="*/ 1917 w 2556"/>
                <a:gd name="T11" fmla="*/ 2216 h 2216"/>
                <a:gd name="T12" fmla="*/ 639 w 2556"/>
                <a:gd name="T13" fmla="*/ 2216 h 2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56" h="2216">
                  <a:moveTo>
                    <a:pt x="639" y="2216"/>
                  </a:moveTo>
                  <a:lnTo>
                    <a:pt x="0" y="1108"/>
                  </a:lnTo>
                  <a:lnTo>
                    <a:pt x="639" y="0"/>
                  </a:lnTo>
                  <a:lnTo>
                    <a:pt x="1917" y="0"/>
                  </a:lnTo>
                  <a:lnTo>
                    <a:pt x="2556" y="1108"/>
                  </a:lnTo>
                  <a:lnTo>
                    <a:pt x="1917" y="2216"/>
                  </a:lnTo>
                  <a:lnTo>
                    <a:pt x="639" y="2216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28" name="Freeform 17">
              <a:extLst>
                <a:ext uri="{FF2B5EF4-FFF2-40B4-BE49-F238E27FC236}">
                  <a16:creationId xmlns:a16="http://schemas.microsoft.com/office/drawing/2014/main" id="{11583622-E750-E626-E5C8-3F6EA401E6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0618" y="4062741"/>
              <a:ext cx="1676728" cy="726683"/>
            </a:xfrm>
            <a:custGeom>
              <a:avLst/>
              <a:gdLst>
                <a:gd name="T0" fmla="*/ 556 w 2222"/>
                <a:gd name="T1" fmla="*/ 963 h 963"/>
                <a:gd name="T2" fmla="*/ 0 w 2222"/>
                <a:gd name="T3" fmla="*/ 0 h 963"/>
                <a:gd name="T4" fmla="*/ 2222 w 2222"/>
                <a:gd name="T5" fmla="*/ 0 h 963"/>
                <a:gd name="T6" fmla="*/ 1667 w 2222"/>
                <a:gd name="T7" fmla="*/ 963 h 963"/>
                <a:gd name="T8" fmla="*/ 556 w 2222"/>
                <a:gd name="T9" fmla="*/ 963 h 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2" h="963">
                  <a:moveTo>
                    <a:pt x="556" y="963"/>
                  </a:moveTo>
                  <a:lnTo>
                    <a:pt x="0" y="0"/>
                  </a:lnTo>
                  <a:lnTo>
                    <a:pt x="2222" y="0"/>
                  </a:lnTo>
                  <a:lnTo>
                    <a:pt x="1667" y="963"/>
                  </a:lnTo>
                  <a:lnTo>
                    <a:pt x="556" y="963"/>
                  </a:ln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>
              <a:noFill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304815"/>
              <a:endParaRPr lang="en-US" sz="1200">
                <a:solidFill>
                  <a:srgbClr val="000000"/>
                </a:solidFill>
              </a:endParaRPr>
            </a:p>
          </p:txBody>
        </p:sp>
        <p:pic>
          <p:nvPicPr>
            <p:cNvPr id="129" name="Grafik 80">
              <a:extLst>
                <a:ext uri="{FF2B5EF4-FFF2-40B4-BE49-F238E27FC236}">
                  <a16:creationId xmlns:a16="http://schemas.microsoft.com/office/drawing/2014/main" id="{D143FFBC-FA80-D8CC-41CB-3BD53F462F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9352" y="4134087"/>
              <a:ext cx="537749" cy="575769"/>
            </a:xfrm>
            <a:prstGeom prst="rect">
              <a:avLst/>
            </a:prstGeom>
          </p:spPr>
        </p:pic>
        <p:sp>
          <p:nvSpPr>
            <p:cNvPr id="131" name="TextBox 80">
              <a:extLst>
                <a:ext uri="{FF2B5EF4-FFF2-40B4-BE49-F238E27FC236}">
                  <a16:creationId xmlns:a16="http://schemas.microsoft.com/office/drawing/2014/main" id="{CF117ADC-7F57-D726-316F-9B606F65A7B2}"/>
                </a:ext>
              </a:extLst>
            </p:cNvPr>
            <p:cNvSpPr txBox="1"/>
            <p:nvPr/>
          </p:nvSpPr>
          <p:spPr>
            <a:xfrm>
              <a:off x="1471020" y="3384888"/>
              <a:ext cx="1382092" cy="50397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 defTabSz="304815"/>
              <a:r>
                <a:rPr lang="en-US" sz="1100" b="1" dirty="0" err="1">
                  <a:solidFill>
                    <a:srgbClr val="FFFFFF"/>
                  </a:solidFill>
                </a:rPr>
                <a:t>Obst</a:t>
              </a:r>
              <a:r>
                <a:rPr lang="en-US" sz="1100" b="1" dirty="0">
                  <a:solidFill>
                    <a:srgbClr val="FFFFFF"/>
                  </a:solidFill>
                </a:rPr>
                <a:t>- und </a:t>
              </a:r>
              <a:r>
                <a:rPr lang="en-US" sz="1100" b="1" dirty="0" err="1">
                  <a:solidFill>
                    <a:srgbClr val="FFFFFF"/>
                  </a:solidFill>
                </a:rPr>
                <a:t>Gemüsebau</a:t>
              </a:r>
              <a:endParaRPr lang="en-US" sz="11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33" name="Gruppieren 2">
            <a:extLst>
              <a:ext uri="{FF2B5EF4-FFF2-40B4-BE49-F238E27FC236}">
                <a16:creationId xmlns:a16="http://schemas.microsoft.com/office/drawing/2014/main" id="{4787A9E0-A86E-F6B1-7F37-44D507458664}"/>
              </a:ext>
            </a:extLst>
          </p:cNvPr>
          <p:cNvGrpSpPr/>
          <p:nvPr/>
        </p:nvGrpSpPr>
        <p:grpSpPr>
          <a:xfrm>
            <a:off x="3946067" y="4337515"/>
            <a:ext cx="1647128" cy="1429059"/>
            <a:chOff x="3726877" y="4554020"/>
            <a:chExt cx="1647128" cy="1429059"/>
          </a:xfrm>
        </p:grpSpPr>
        <p:grpSp>
          <p:nvGrpSpPr>
            <p:cNvPr id="134" name="Gruppieren 63">
              <a:extLst>
                <a:ext uri="{FF2B5EF4-FFF2-40B4-BE49-F238E27FC236}">
                  <a16:creationId xmlns:a16="http://schemas.microsoft.com/office/drawing/2014/main" id="{F49B17CC-0126-D4D0-5045-D7EA0E54712D}"/>
                </a:ext>
              </a:extLst>
            </p:cNvPr>
            <p:cNvGrpSpPr/>
            <p:nvPr/>
          </p:nvGrpSpPr>
          <p:grpSpPr>
            <a:xfrm>
              <a:off x="3726877" y="4554020"/>
              <a:ext cx="1647128" cy="1429059"/>
              <a:chOff x="7483033" y="3235401"/>
              <a:chExt cx="1926503" cy="1671446"/>
            </a:xfrm>
          </p:grpSpPr>
          <p:sp>
            <p:nvSpPr>
              <p:cNvPr id="136" name="Freeform 5">
                <a:extLst>
                  <a:ext uri="{FF2B5EF4-FFF2-40B4-BE49-F238E27FC236}">
                    <a16:creationId xmlns:a16="http://schemas.microsoft.com/office/drawing/2014/main" id="{FE021410-0315-7EF1-9356-7DEAE6709A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3033" y="3235401"/>
                <a:ext cx="1926503" cy="1671446"/>
              </a:xfrm>
              <a:custGeom>
                <a:avLst/>
                <a:gdLst>
                  <a:gd name="T0" fmla="*/ 639 w 2553"/>
                  <a:gd name="T1" fmla="*/ 2215 h 2215"/>
                  <a:gd name="T2" fmla="*/ 0 w 2553"/>
                  <a:gd name="T3" fmla="*/ 1107 h 2215"/>
                  <a:gd name="T4" fmla="*/ 639 w 2553"/>
                  <a:gd name="T5" fmla="*/ 0 h 2215"/>
                  <a:gd name="T6" fmla="*/ 1915 w 2553"/>
                  <a:gd name="T7" fmla="*/ 0 h 2215"/>
                  <a:gd name="T8" fmla="*/ 2553 w 2553"/>
                  <a:gd name="T9" fmla="*/ 1107 h 2215"/>
                  <a:gd name="T10" fmla="*/ 1915 w 2553"/>
                  <a:gd name="T11" fmla="*/ 2215 h 2215"/>
                  <a:gd name="T12" fmla="*/ 639 w 2553"/>
                  <a:gd name="T13" fmla="*/ 2215 h 2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53" h="2215">
                    <a:moveTo>
                      <a:pt x="639" y="2215"/>
                    </a:moveTo>
                    <a:lnTo>
                      <a:pt x="0" y="1107"/>
                    </a:lnTo>
                    <a:lnTo>
                      <a:pt x="639" y="0"/>
                    </a:lnTo>
                    <a:lnTo>
                      <a:pt x="1915" y="0"/>
                    </a:lnTo>
                    <a:lnTo>
                      <a:pt x="2553" y="1107"/>
                    </a:lnTo>
                    <a:lnTo>
                      <a:pt x="1915" y="2215"/>
                    </a:lnTo>
                    <a:lnTo>
                      <a:pt x="639" y="2215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304815"/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" name="Freeform 6">
                <a:extLst>
                  <a:ext uri="{FF2B5EF4-FFF2-40B4-BE49-F238E27FC236}">
                    <a16:creationId xmlns:a16="http://schemas.microsoft.com/office/drawing/2014/main" id="{9A2A3847-AF26-C4AE-DA5A-0B4AFFA2EB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08297" y="4070552"/>
                <a:ext cx="1676729" cy="727438"/>
              </a:xfrm>
              <a:custGeom>
                <a:avLst/>
                <a:gdLst>
                  <a:gd name="T0" fmla="*/ 555 w 2222"/>
                  <a:gd name="T1" fmla="*/ 964 h 964"/>
                  <a:gd name="T2" fmla="*/ 0 w 2222"/>
                  <a:gd name="T3" fmla="*/ 0 h 964"/>
                  <a:gd name="T4" fmla="*/ 2222 w 2222"/>
                  <a:gd name="T5" fmla="*/ 0 h 964"/>
                  <a:gd name="T6" fmla="*/ 1666 w 2222"/>
                  <a:gd name="T7" fmla="*/ 964 h 964"/>
                  <a:gd name="T8" fmla="*/ 555 w 2222"/>
                  <a:gd name="T9" fmla="*/ 964 h 9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2" h="964">
                    <a:moveTo>
                      <a:pt x="555" y="964"/>
                    </a:moveTo>
                    <a:lnTo>
                      <a:pt x="0" y="0"/>
                    </a:lnTo>
                    <a:lnTo>
                      <a:pt x="2222" y="0"/>
                    </a:lnTo>
                    <a:lnTo>
                      <a:pt x="1666" y="964"/>
                    </a:lnTo>
                    <a:lnTo>
                      <a:pt x="555" y="964"/>
                    </a:lnTo>
                    <a:close/>
                  </a:path>
                </a:pathLst>
              </a:custGeom>
              <a:solidFill>
                <a:schemeClr val="tx1">
                  <a:alpha val="10000"/>
                </a:schemeClr>
              </a:solidFill>
              <a:ln>
                <a:noFill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304815"/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" name="TextBox 80">
                <a:extLst>
                  <a:ext uri="{FF2B5EF4-FFF2-40B4-BE49-F238E27FC236}">
                    <a16:creationId xmlns:a16="http://schemas.microsoft.com/office/drawing/2014/main" id="{D119451F-9179-0D3F-31C9-4B9D69E3A61C}"/>
                  </a:ext>
                </a:extLst>
              </p:cNvPr>
              <p:cNvSpPr txBox="1"/>
              <p:nvPr/>
            </p:nvSpPr>
            <p:spPr>
              <a:xfrm>
                <a:off x="7633579" y="3469434"/>
                <a:ext cx="1607264" cy="503971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algn="ctr" defTabSz="304815"/>
                <a:r>
                  <a:rPr lang="en-US" sz="1100" b="1" dirty="0" err="1">
                    <a:solidFill>
                      <a:srgbClr val="FFFFFF"/>
                    </a:solidFill>
                  </a:rPr>
                  <a:t>Abrechnung</a:t>
                </a:r>
                <a:r>
                  <a:rPr lang="en-US" sz="1100" b="1" dirty="0">
                    <a:solidFill>
                      <a:srgbClr val="FFFFFF"/>
                    </a:solidFill>
                  </a:rPr>
                  <a:t> und </a:t>
                </a:r>
                <a:r>
                  <a:rPr lang="en-US" sz="1100" b="1" dirty="0" err="1">
                    <a:solidFill>
                      <a:srgbClr val="FFFFFF"/>
                    </a:solidFill>
                  </a:rPr>
                  <a:t>Lohnschnittstelle</a:t>
                </a:r>
                <a:endParaRPr lang="en-US" sz="1100" b="1" dirty="0">
                  <a:solidFill>
                    <a:srgbClr val="FFFFFF"/>
                  </a:solidFill>
                </a:endParaRPr>
              </a:p>
            </p:txBody>
          </p:sp>
        </p:grpSp>
        <p:pic>
          <p:nvPicPr>
            <p:cNvPr id="135" name="Grafik 82">
              <a:extLst>
                <a:ext uri="{FF2B5EF4-FFF2-40B4-BE49-F238E27FC236}">
                  <a16:creationId xmlns:a16="http://schemas.microsoft.com/office/drawing/2014/main" id="{D3E9A015-279C-9242-9267-99732AE115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55468" y="5357543"/>
              <a:ext cx="471892" cy="547322"/>
            </a:xfrm>
            <a:prstGeom prst="rect">
              <a:avLst/>
            </a:prstGeom>
          </p:spPr>
        </p:pic>
      </p:grpSp>
      <p:grpSp>
        <p:nvGrpSpPr>
          <p:cNvPr id="139" name="Gruppieren 4">
            <a:extLst>
              <a:ext uri="{FF2B5EF4-FFF2-40B4-BE49-F238E27FC236}">
                <a16:creationId xmlns:a16="http://schemas.microsoft.com/office/drawing/2014/main" id="{358618F1-F1A3-FF74-13A3-B0CE5218B7F4}"/>
              </a:ext>
            </a:extLst>
          </p:cNvPr>
          <p:cNvGrpSpPr/>
          <p:nvPr/>
        </p:nvGrpSpPr>
        <p:grpSpPr>
          <a:xfrm>
            <a:off x="6578608" y="2812049"/>
            <a:ext cx="1649062" cy="1429704"/>
            <a:chOff x="10182464" y="2774853"/>
            <a:chExt cx="1649062" cy="1429704"/>
          </a:xfrm>
        </p:grpSpPr>
        <p:grpSp>
          <p:nvGrpSpPr>
            <p:cNvPr id="140" name="Gruppieren 83">
              <a:extLst>
                <a:ext uri="{FF2B5EF4-FFF2-40B4-BE49-F238E27FC236}">
                  <a16:creationId xmlns:a16="http://schemas.microsoft.com/office/drawing/2014/main" id="{7CEA15D5-D7E0-E6C7-038D-90228AE2274D}"/>
                </a:ext>
              </a:extLst>
            </p:cNvPr>
            <p:cNvGrpSpPr/>
            <p:nvPr/>
          </p:nvGrpSpPr>
          <p:grpSpPr>
            <a:xfrm>
              <a:off x="10182464" y="2774853"/>
              <a:ext cx="1649062" cy="1429704"/>
              <a:chOff x="2776883" y="4135794"/>
              <a:chExt cx="1928765" cy="1672201"/>
            </a:xfrm>
          </p:grpSpPr>
          <p:sp>
            <p:nvSpPr>
              <p:cNvPr id="145" name="Freeform 16">
                <a:extLst>
                  <a:ext uri="{FF2B5EF4-FFF2-40B4-BE49-F238E27FC236}">
                    <a16:creationId xmlns:a16="http://schemas.microsoft.com/office/drawing/2014/main" id="{48DBFF2F-9852-994A-0D0A-4E9EE28640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6883" y="4135794"/>
                <a:ext cx="1928765" cy="1672201"/>
              </a:xfrm>
              <a:custGeom>
                <a:avLst/>
                <a:gdLst>
                  <a:gd name="T0" fmla="*/ 639 w 2556"/>
                  <a:gd name="T1" fmla="*/ 2216 h 2216"/>
                  <a:gd name="T2" fmla="*/ 0 w 2556"/>
                  <a:gd name="T3" fmla="*/ 1108 h 2216"/>
                  <a:gd name="T4" fmla="*/ 639 w 2556"/>
                  <a:gd name="T5" fmla="*/ 0 h 2216"/>
                  <a:gd name="T6" fmla="*/ 1917 w 2556"/>
                  <a:gd name="T7" fmla="*/ 0 h 2216"/>
                  <a:gd name="T8" fmla="*/ 2556 w 2556"/>
                  <a:gd name="T9" fmla="*/ 1108 h 2216"/>
                  <a:gd name="T10" fmla="*/ 1917 w 2556"/>
                  <a:gd name="T11" fmla="*/ 2216 h 2216"/>
                  <a:gd name="T12" fmla="*/ 639 w 2556"/>
                  <a:gd name="T13" fmla="*/ 2216 h 2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56" h="2216">
                    <a:moveTo>
                      <a:pt x="639" y="2216"/>
                    </a:moveTo>
                    <a:lnTo>
                      <a:pt x="0" y="1108"/>
                    </a:lnTo>
                    <a:lnTo>
                      <a:pt x="639" y="0"/>
                    </a:lnTo>
                    <a:lnTo>
                      <a:pt x="1917" y="0"/>
                    </a:lnTo>
                    <a:lnTo>
                      <a:pt x="2556" y="1108"/>
                    </a:lnTo>
                    <a:lnTo>
                      <a:pt x="1917" y="2216"/>
                    </a:lnTo>
                    <a:lnTo>
                      <a:pt x="639" y="2216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304815"/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Freeform 17">
                <a:extLst>
                  <a:ext uri="{FF2B5EF4-FFF2-40B4-BE49-F238E27FC236}">
                    <a16:creationId xmlns:a16="http://schemas.microsoft.com/office/drawing/2014/main" id="{A0049A99-422C-E55E-B09A-96103B9BDB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3656" y="4971895"/>
                <a:ext cx="1676728" cy="726683"/>
              </a:xfrm>
              <a:custGeom>
                <a:avLst/>
                <a:gdLst>
                  <a:gd name="T0" fmla="*/ 556 w 2222"/>
                  <a:gd name="T1" fmla="*/ 963 h 963"/>
                  <a:gd name="T2" fmla="*/ 0 w 2222"/>
                  <a:gd name="T3" fmla="*/ 0 h 963"/>
                  <a:gd name="T4" fmla="*/ 2222 w 2222"/>
                  <a:gd name="T5" fmla="*/ 0 h 963"/>
                  <a:gd name="T6" fmla="*/ 1667 w 2222"/>
                  <a:gd name="T7" fmla="*/ 963 h 963"/>
                  <a:gd name="T8" fmla="*/ 556 w 2222"/>
                  <a:gd name="T9" fmla="*/ 963 h 9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2" h="963">
                    <a:moveTo>
                      <a:pt x="556" y="963"/>
                    </a:moveTo>
                    <a:lnTo>
                      <a:pt x="0" y="0"/>
                    </a:lnTo>
                    <a:lnTo>
                      <a:pt x="2222" y="0"/>
                    </a:lnTo>
                    <a:lnTo>
                      <a:pt x="1667" y="963"/>
                    </a:lnTo>
                    <a:lnTo>
                      <a:pt x="556" y="963"/>
                    </a:lnTo>
                    <a:close/>
                  </a:path>
                </a:pathLst>
              </a:custGeom>
              <a:solidFill>
                <a:schemeClr val="tx1">
                  <a:alpha val="10000"/>
                </a:schemeClr>
              </a:solidFill>
              <a:ln>
                <a:noFill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304815"/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" name="TextBox 78">
                <a:extLst>
                  <a:ext uri="{FF2B5EF4-FFF2-40B4-BE49-F238E27FC236}">
                    <a16:creationId xmlns:a16="http://schemas.microsoft.com/office/drawing/2014/main" id="{4AA17F0F-047E-C0CD-1DC9-84FC38BACD72}"/>
                  </a:ext>
                </a:extLst>
              </p:cNvPr>
              <p:cNvSpPr txBox="1"/>
              <p:nvPr/>
            </p:nvSpPr>
            <p:spPr>
              <a:xfrm>
                <a:off x="2964835" y="4274620"/>
                <a:ext cx="1606305" cy="503971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algn="ctr" defTabSz="304815"/>
                <a:r>
                  <a:rPr lang="en-US" sz="1100" b="1" dirty="0" err="1">
                    <a:solidFill>
                      <a:srgbClr val="FFFFFF"/>
                    </a:solidFill>
                  </a:rPr>
                  <a:t>Teilflächen</a:t>
                </a:r>
                <a:r>
                  <a:rPr lang="en-US" sz="1100" b="1" dirty="0">
                    <a:solidFill>
                      <a:srgbClr val="FFFFFF"/>
                    </a:solidFill>
                  </a:rPr>
                  <a:t>-management</a:t>
                </a:r>
              </a:p>
            </p:txBody>
          </p:sp>
        </p:grpSp>
        <p:pic>
          <p:nvPicPr>
            <p:cNvPr id="141" name="Grafik 87">
              <a:extLst>
                <a:ext uri="{FF2B5EF4-FFF2-40B4-BE49-F238E27FC236}">
                  <a16:creationId xmlns:a16="http://schemas.microsoft.com/office/drawing/2014/main" id="{9F54A29D-5D85-DD0F-2CDB-BA6403E4CA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70286" y="3509935"/>
              <a:ext cx="287571" cy="575141"/>
            </a:xfrm>
            <a:prstGeom prst="rect">
              <a:avLst/>
            </a:prstGeom>
          </p:spPr>
        </p:pic>
        <p:pic>
          <p:nvPicPr>
            <p:cNvPr id="142" name="Grafik 88">
              <a:extLst>
                <a:ext uri="{FF2B5EF4-FFF2-40B4-BE49-F238E27FC236}">
                  <a16:creationId xmlns:a16="http://schemas.microsoft.com/office/drawing/2014/main" id="{4BBC96CF-C26C-496C-D042-F0B8474BA5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57130" y="3514976"/>
              <a:ext cx="287571" cy="575141"/>
            </a:xfrm>
            <a:prstGeom prst="rect">
              <a:avLst/>
            </a:prstGeom>
          </p:spPr>
        </p:pic>
        <p:pic>
          <p:nvPicPr>
            <p:cNvPr id="143" name="Grafik 89">
              <a:extLst>
                <a:ext uri="{FF2B5EF4-FFF2-40B4-BE49-F238E27FC236}">
                  <a16:creationId xmlns:a16="http://schemas.microsoft.com/office/drawing/2014/main" id="{1AAEDFA0-C682-C135-EFC0-2345564EE7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35069" y="3513502"/>
              <a:ext cx="287571" cy="575141"/>
            </a:xfrm>
            <a:prstGeom prst="rect">
              <a:avLst/>
            </a:prstGeom>
          </p:spPr>
        </p:pic>
        <p:pic>
          <p:nvPicPr>
            <p:cNvPr id="144" name="Grafik 90">
              <a:extLst>
                <a:ext uri="{FF2B5EF4-FFF2-40B4-BE49-F238E27FC236}">
                  <a16:creationId xmlns:a16="http://schemas.microsoft.com/office/drawing/2014/main" id="{34A9DBB7-1911-C48F-CFAF-60ABE23020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21913" y="3518543"/>
              <a:ext cx="287571" cy="575141"/>
            </a:xfrm>
            <a:prstGeom prst="rect">
              <a:avLst/>
            </a:prstGeom>
          </p:spPr>
        </p:pic>
      </p:grpSp>
      <p:grpSp>
        <p:nvGrpSpPr>
          <p:cNvPr id="148" name="Gruppieren 91">
            <a:extLst>
              <a:ext uri="{FF2B5EF4-FFF2-40B4-BE49-F238E27FC236}">
                <a16:creationId xmlns:a16="http://schemas.microsoft.com/office/drawing/2014/main" id="{2EB58AC4-7225-D612-D2D8-0B3186DCC908}"/>
              </a:ext>
            </a:extLst>
          </p:cNvPr>
          <p:cNvGrpSpPr/>
          <p:nvPr/>
        </p:nvGrpSpPr>
        <p:grpSpPr>
          <a:xfrm>
            <a:off x="5261831" y="3562115"/>
            <a:ext cx="1647128" cy="1429059"/>
            <a:chOff x="9953034" y="4300223"/>
            <a:chExt cx="1926503" cy="1671446"/>
          </a:xfrm>
        </p:grpSpPr>
        <p:grpSp>
          <p:nvGrpSpPr>
            <p:cNvPr id="149" name="Gruppieren 92">
              <a:extLst>
                <a:ext uri="{FF2B5EF4-FFF2-40B4-BE49-F238E27FC236}">
                  <a16:creationId xmlns:a16="http://schemas.microsoft.com/office/drawing/2014/main" id="{4ED3079B-5ADC-0AD8-F632-F0BAEB28FA46}"/>
                </a:ext>
              </a:extLst>
            </p:cNvPr>
            <p:cNvGrpSpPr/>
            <p:nvPr/>
          </p:nvGrpSpPr>
          <p:grpSpPr>
            <a:xfrm>
              <a:off x="9953034" y="4300223"/>
              <a:ext cx="1926503" cy="1671446"/>
              <a:chOff x="7483033" y="3235401"/>
              <a:chExt cx="1926503" cy="1671446"/>
            </a:xfrm>
          </p:grpSpPr>
          <p:sp>
            <p:nvSpPr>
              <p:cNvPr id="151" name="Freeform 5">
                <a:extLst>
                  <a:ext uri="{FF2B5EF4-FFF2-40B4-BE49-F238E27FC236}">
                    <a16:creationId xmlns:a16="http://schemas.microsoft.com/office/drawing/2014/main" id="{D4458EE8-B8AD-2594-7B85-872929972E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3033" y="3235401"/>
                <a:ext cx="1926503" cy="1671446"/>
              </a:xfrm>
              <a:custGeom>
                <a:avLst/>
                <a:gdLst>
                  <a:gd name="T0" fmla="*/ 639 w 2553"/>
                  <a:gd name="T1" fmla="*/ 2215 h 2215"/>
                  <a:gd name="T2" fmla="*/ 0 w 2553"/>
                  <a:gd name="T3" fmla="*/ 1107 h 2215"/>
                  <a:gd name="T4" fmla="*/ 639 w 2553"/>
                  <a:gd name="T5" fmla="*/ 0 h 2215"/>
                  <a:gd name="T6" fmla="*/ 1915 w 2553"/>
                  <a:gd name="T7" fmla="*/ 0 h 2215"/>
                  <a:gd name="T8" fmla="*/ 2553 w 2553"/>
                  <a:gd name="T9" fmla="*/ 1107 h 2215"/>
                  <a:gd name="T10" fmla="*/ 1915 w 2553"/>
                  <a:gd name="T11" fmla="*/ 2215 h 2215"/>
                  <a:gd name="T12" fmla="*/ 639 w 2553"/>
                  <a:gd name="T13" fmla="*/ 2215 h 2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53" h="2215">
                    <a:moveTo>
                      <a:pt x="639" y="2215"/>
                    </a:moveTo>
                    <a:lnTo>
                      <a:pt x="0" y="1107"/>
                    </a:lnTo>
                    <a:lnTo>
                      <a:pt x="639" y="0"/>
                    </a:lnTo>
                    <a:lnTo>
                      <a:pt x="1915" y="0"/>
                    </a:lnTo>
                    <a:lnTo>
                      <a:pt x="2553" y="1107"/>
                    </a:lnTo>
                    <a:lnTo>
                      <a:pt x="1915" y="2215"/>
                    </a:lnTo>
                    <a:lnTo>
                      <a:pt x="639" y="2215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304815"/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52" name="Freeform 6">
                <a:extLst>
                  <a:ext uri="{FF2B5EF4-FFF2-40B4-BE49-F238E27FC236}">
                    <a16:creationId xmlns:a16="http://schemas.microsoft.com/office/drawing/2014/main" id="{EAF1F0B4-0BE3-555E-B778-8BDECE57D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08297" y="4070552"/>
                <a:ext cx="1676729" cy="727438"/>
              </a:xfrm>
              <a:custGeom>
                <a:avLst/>
                <a:gdLst>
                  <a:gd name="T0" fmla="*/ 555 w 2222"/>
                  <a:gd name="T1" fmla="*/ 964 h 964"/>
                  <a:gd name="T2" fmla="*/ 0 w 2222"/>
                  <a:gd name="T3" fmla="*/ 0 h 964"/>
                  <a:gd name="T4" fmla="*/ 2222 w 2222"/>
                  <a:gd name="T5" fmla="*/ 0 h 964"/>
                  <a:gd name="T6" fmla="*/ 1666 w 2222"/>
                  <a:gd name="T7" fmla="*/ 964 h 964"/>
                  <a:gd name="T8" fmla="*/ 555 w 2222"/>
                  <a:gd name="T9" fmla="*/ 964 h 9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2" h="964">
                    <a:moveTo>
                      <a:pt x="555" y="964"/>
                    </a:moveTo>
                    <a:lnTo>
                      <a:pt x="0" y="0"/>
                    </a:lnTo>
                    <a:lnTo>
                      <a:pt x="2222" y="0"/>
                    </a:lnTo>
                    <a:lnTo>
                      <a:pt x="1666" y="964"/>
                    </a:lnTo>
                    <a:lnTo>
                      <a:pt x="555" y="964"/>
                    </a:lnTo>
                    <a:close/>
                  </a:path>
                </a:pathLst>
              </a:custGeom>
              <a:solidFill>
                <a:schemeClr val="tx1">
                  <a:alpha val="10000"/>
                </a:schemeClr>
              </a:solidFill>
              <a:ln>
                <a:noFill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304815"/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" name="TextBox 80">
                <a:extLst>
                  <a:ext uri="{FF2B5EF4-FFF2-40B4-BE49-F238E27FC236}">
                    <a16:creationId xmlns:a16="http://schemas.microsoft.com/office/drawing/2014/main" id="{682F442B-B06C-DD4A-773F-027D9F3442EE}"/>
                  </a:ext>
                </a:extLst>
              </p:cNvPr>
              <p:cNvSpPr txBox="1"/>
              <p:nvPr/>
            </p:nvSpPr>
            <p:spPr>
              <a:xfrm>
                <a:off x="7795632" y="3313817"/>
                <a:ext cx="1382092" cy="503971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algn="ctr" defTabSz="304815"/>
                <a:r>
                  <a:rPr lang="en-US" sz="1100" b="1" dirty="0">
                    <a:solidFill>
                      <a:srgbClr val="FFFFFF"/>
                    </a:solidFill>
                  </a:rPr>
                  <a:t>Lager-</a:t>
                </a:r>
                <a:r>
                  <a:rPr lang="en-US" sz="1100" b="1" dirty="0" err="1">
                    <a:solidFill>
                      <a:srgbClr val="FFFFFF"/>
                    </a:solidFill>
                  </a:rPr>
                  <a:t>verwaltung</a:t>
                </a:r>
                <a:endParaRPr lang="en-US" sz="1100" b="1" dirty="0">
                  <a:solidFill>
                    <a:srgbClr val="FFFFFF"/>
                  </a:solidFill>
                </a:endParaRPr>
              </a:p>
            </p:txBody>
          </p:sp>
        </p:grpSp>
        <p:pic>
          <p:nvPicPr>
            <p:cNvPr id="150" name="Grafik 93">
              <a:extLst>
                <a:ext uri="{FF2B5EF4-FFF2-40B4-BE49-F238E27FC236}">
                  <a16:creationId xmlns:a16="http://schemas.microsoft.com/office/drawing/2014/main" id="{7C2FB8CC-80B9-8C3B-A0F3-C2FD6CDDAE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28245" y="5190030"/>
              <a:ext cx="660625" cy="660625"/>
            </a:xfrm>
            <a:prstGeom prst="rect">
              <a:avLst/>
            </a:prstGeom>
          </p:spPr>
        </p:pic>
      </p:grpSp>
      <p:grpSp>
        <p:nvGrpSpPr>
          <p:cNvPr id="154" name="Gruppieren 1">
            <a:extLst>
              <a:ext uri="{FF2B5EF4-FFF2-40B4-BE49-F238E27FC236}">
                <a16:creationId xmlns:a16="http://schemas.microsoft.com/office/drawing/2014/main" id="{BB6F8847-A698-090D-6A2A-5E8067C0B00E}"/>
              </a:ext>
            </a:extLst>
          </p:cNvPr>
          <p:cNvGrpSpPr/>
          <p:nvPr/>
        </p:nvGrpSpPr>
        <p:grpSpPr>
          <a:xfrm>
            <a:off x="2622031" y="5076840"/>
            <a:ext cx="1648418" cy="1429704"/>
            <a:chOff x="1339640" y="1305449"/>
            <a:chExt cx="1648418" cy="1429704"/>
          </a:xfrm>
        </p:grpSpPr>
        <p:grpSp>
          <p:nvGrpSpPr>
            <p:cNvPr id="155" name="Gruppieren 97">
              <a:extLst>
                <a:ext uri="{FF2B5EF4-FFF2-40B4-BE49-F238E27FC236}">
                  <a16:creationId xmlns:a16="http://schemas.microsoft.com/office/drawing/2014/main" id="{1A2D38C9-DE5A-FD6E-0A63-91693508562F}"/>
                </a:ext>
              </a:extLst>
            </p:cNvPr>
            <p:cNvGrpSpPr/>
            <p:nvPr/>
          </p:nvGrpSpPr>
          <p:grpSpPr>
            <a:xfrm>
              <a:off x="1339640" y="1305449"/>
              <a:ext cx="1648418" cy="1429704"/>
              <a:chOff x="4340256" y="3245879"/>
              <a:chExt cx="1928012" cy="1672201"/>
            </a:xfrm>
          </p:grpSpPr>
          <p:sp>
            <p:nvSpPr>
              <p:cNvPr id="157" name="Freeform 42">
                <a:extLst>
                  <a:ext uri="{FF2B5EF4-FFF2-40B4-BE49-F238E27FC236}">
                    <a16:creationId xmlns:a16="http://schemas.microsoft.com/office/drawing/2014/main" id="{ABB43FEC-9455-A3C7-84B7-BBD2B91811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0256" y="3245879"/>
                <a:ext cx="1928012" cy="1672201"/>
              </a:xfrm>
              <a:custGeom>
                <a:avLst/>
                <a:gdLst>
                  <a:gd name="T0" fmla="*/ 638 w 2555"/>
                  <a:gd name="T1" fmla="*/ 2216 h 2216"/>
                  <a:gd name="T2" fmla="*/ 0 w 2555"/>
                  <a:gd name="T3" fmla="*/ 1108 h 2216"/>
                  <a:gd name="T4" fmla="*/ 638 w 2555"/>
                  <a:gd name="T5" fmla="*/ 0 h 2216"/>
                  <a:gd name="T6" fmla="*/ 1917 w 2555"/>
                  <a:gd name="T7" fmla="*/ 0 h 2216"/>
                  <a:gd name="T8" fmla="*/ 2555 w 2555"/>
                  <a:gd name="T9" fmla="*/ 1108 h 2216"/>
                  <a:gd name="T10" fmla="*/ 1917 w 2555"/>
                  <a:gd name="T11" fmla="*/ 2216 h 2216"/>
                  <a:gd name="T12" fmla="*/ 638 w 2555"/>
                  <a:gd name="T13" fmla="*/ 2216 h 2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55" h="2216">
                    <a:moveTo>
                      <a:pt x="638" y="2216"/>
                    </a:moveTo>
                    <a:lnTo>
                      <a:pt x="0" y="1108"/>
                    </a:lnTo>
                    <a:lnTo>
                      <a:pt x="638" y="0"/>
                    </a:lnTo>
                    <a:lnTo>
                      <a:pt x="1917" y="0"/>
                    </a:lnTo>
                    <a:lnTo>
                      <a:pt x="2555" y="1108"/>
                    </a:lnTo>
                    <a:lnTo>
                      <a:pt x="1917" y="2216"/>
                    </a:lnTo>
                    <a:lnTo>
                      <a:pt x="638" y="2216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304815"/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" name="Freeform 43">
                <a:extLst>
                  <a:ext uri="{FF2B5EF4-FFF2-40B4-BE49-F238E27FC236}">
                    <a16:creationId xmlns:a16="http://schemas.microsoft.com/office/drawing/2014/main" id="{AE441BF2-AA72-1415-ED38-1D776381C6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4766" y="4081980"/>
                <a:ext cx="1676729" cy="726683"/>
              </a:xfrm>
              <a:custGeom>
                <a:avLst/>
                <a:gdLst>
                  <a:gd name="T0" fmla="*/ 556 w 2222"/>
                  <a:gd name="T1" fmla="*/ 963 h 963"/>
                  <a:gd name="T2" fmla="*/ 0 w 2222"/>
                  <a:gd name="T3" fmla="*/ 0 h 963"/>
                  <a:gd name="T4" fmla="*/ 2222 w 2222"/>
                  <a:gd name="T5" fmla="*/ 0 h 963"/>
                  <a:gd name="T6" fmla="*/ 1667 w 2222"/>
                  <a:gd name="T7" fmla="*/ 963 h 963"/>
                  <a:gd name="T8" fmla="*/ 556 w 2222"/>
                  <a:gd name="T9" fmla="*/ 963 h 9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2" h="963">
                    <a:moveTo>
                      <a:pt x="556" y="963"/>
                    </a:moveTo>
                    <a:lnTo>
                      <a:pt x="0" y="0"/>
                    </a:lnTo>
                    <a:lnTo>
                      <a:pt x="2222" y="0"/>
                    </a:lnTo>
                    <a:lnTo>
                      <a:pt x="1667" y="963"/>
                    </a:lnTo>
                    <a:lnTo>
                      <a:pt x="556" y="963"/>
                    </a:lnTo>
                    <a:close/>
                  </a:path>
                </a:pathLst>
              </a:custGeom>
              <a:solidFill>
                <a:schemeClr val="tx1">
                  <a:alpha val="10000"/>
                </a:schemeClr>
              </a:solidFill>
              <a:ln>
                <a:noFill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304815"/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" name="TextBox 78">
                <a:extLst>
                  <a:ext uri="{FF2B5EF4-FFF2-40B4-BE49-F238E27FC236}">
                    <a16:creationId xmlns:a16="http://schemas.microsoft.com/office/drawing/2014/main" id="{D6ABBF0C-824D-81C7-2BCD-E280ECD52B23}"/>
                  </a:ext>
                </a:extLst>
              </p:cNvPr>
              <p:cNvSpPr txBox="1"/>
              <p:nvPr/>
            </p:nvSpPr>
            <p:spPr>
              <a:xfrm>
                <a:off x="4517250" y="3312527"/>
                <a:ext cx="1570918" cy="503971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algn="ctr" defTabSz="304815"/>
                <a:r>
                  <a:rPr lang="en-US" sz="1100" b="1">
                    <a:solidFill>
                      <a:srgbClr val="FFFFFF"/>
                    </a:solidFill>
                  </a:rPr>
                  <a:t>NEXT</a:t>
                </a:r>
              </a:p>
              <a:p>
                <a:pPr algn="ctr" defTabSz="304815"/>
                <a:r>
                  <a:rPr lang="en-US" sz="1100" b="1">
                    <a:solidFill>
                      <a:srgbClr val="FFFFFF"/>
                    </a:solidFill>
                  </a:rPr>
                  <a:t>Marketplace</a:t>
                </a:r>
              </a:p>
            </p:txBody>
          </p:sp>
        </p:grpSp>
        <p:pic>
          <p:nvPicPr>
            <p:cNvPr id="156" name="Grafik 105">
              <a:extLst>
                <a:ext uri="{FF2B5EF4-FFF2-40B4-BE49-F238E27FC236}">
                  <a16:creationId xmlns:a16="http://schemas.microsoft.com/office/drawing/2014/main" id="{C1CBBD3B-EC8D-9A35-6997-C9A2628F211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37202" y="2087790"/>
              <a:ext cx="499349" cy="500368"/>
            </a:xfrm>
            <a:prstGeom prst="rect">
              <a:avLst/>
            </a:prstGeom>
          </p:spPr>
        </p:pic>
      </p:grp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D0C8D575-1805-09E4-9230-7A8A945F6CDF}"/>
              </a:ext>
            </a:extLst>
          </p:cNvPr>
          <p:cNvGrpSpPr/>
          <p:nvPr/>
        </p:nvGrpSpPr>
        <p:grpSpPr>
          <a:xfrm>
            <a:off x="9183203" y="1301406"/>
            <a:ext cx="1647128" cy="1429059"/>
            <a:chOff x="10191513" y="1035253"/>
            <a:chExt cx="1647128" cy="1429059"/>
          </a:xfrm>
        </p:grpSpPr>
        <p:grpSp>
          <p:nvGrpSpPr>
            <p:cNvPr id="161" name="Gruppieren 101">
              <a:extLst>
                <a:ext uri="{FF2B5EF4-FFF2-40B4-BE49-F238E27FC236}">
                  <a16:creationId xmlns:a16="http://schemas.microsoft.com/office/drawing/2014/main" id="{0B3D77BC-BAB6-B040-A75C-D36A67AF18DA}"/>
                </a:ext>
              </a:extLst>
            </p:cNvPr>
            <p:cNvGrpSpPr/>
            <p:nvPr/>
          </p:nvGrpSpPr>
          <p:grpSpPr>
            <a:xfrm>
              <a:off x="10191513" y="1035253"/>
              <a:ext cx="1647128" cy="1429059"/>
              <a:chOff x="7483033" y="3235401"/>
              <a:chExt cx="1926503" cy="1671446"/>
            </a:xfrm>
          </p:grpSpPr>
          <p:sp>
            <p:nvSpPr>
              <p:cNvPr id="163" name="Freeform 5">
                <a:extLst>
                  <a:ext uri="{FF2B5EF4-FFF2-40B4-BE49-F238E27FC236}">
                    <a16:creationId xmlns:a16="http://schemas.microsoft.com/office/drawing/2014/main" id="{72C84B67-A2E7-9853-7C27-96D2590AE9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3033" y="3235401"/>
                <a:ext cx="1926503" cy="1671446"/>
              </a:xfrm>
              <a:custGeom>
                <a:avLst/>
                <a:gdLst>
                  <a:gd name="T0" fmla="*/ 639 w 2553"/>
                  <a:gd name="T1" fmla="*/ 2215 h 2215"/>
                  <a:gd name="T2" fmla="*/ 0 w 2553"/>
                  <a:gd name="T3" fmla="*/ 1107 h 2215"/>
                  <a:gd name="T4" fmla="*/ 639 w 2553"/>
                  <a:gd name="T5" fmla="*/ 0 h 2215"/>
                  <a:gd name="T6" fmla="*/ 1915 w 2553"/>
                  <a:gd name="T7" fmla="*/ 0 h 2215"/>
                  <a:gd name="T8" fmla="*/ 2553 w 2553"/>
                  <a:gd name="T9" fmla="*/ 1107 h 2215"/>
                  <a:gd name="T10" fmla="*/ 1915 w 2553"/>
                  <a:gd name="T11" fmla="*/ 2215 h 2215"/>
                  <a:gd name="T12" fmla="*/ 639 w 2553"/>
                  <a:gd name="T13" fmla="*/ 2215 h 2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53" h="2215">
                    <a:moveTo>
                      <a:pt x="639" y="2215"/>
                    </a:moveTo>
                    <a:lnTo>
                      <a:pt x="0" y="1107"/>
                    </a:lnTo>
                    <a:lnTo>
                      <a:pt x="639" y="0"/>
                    </a:lnTo>
                    <a:lnTo>
                      <a:pt x="1915" y="0"/>
                    </a:lnTo>
                    <a:lnTo>
                      <a:pt x="2553" y="1107"/>
                    </a:lnTo>
                    <a:lnTo>
                      <a:pt x="1915" y="2215"/>
                    </a:lnTo>
                    <a:lnTo>
                      <a:pt x="639" y="2215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304815"/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Freeform 6">
                <a:extLst>
                  <a:ext uri="{FF2B5EF4-FFF2-40B4-BE49-F238E27FC236}">
                    <a16:creationId xmlns:a16="http://schemas.microsoft.com/office/drawing/2014/main" id="{F0947CE3-420C-95EC-D579-F1604C8279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08297" y="4070552"/>
                <a:ext cx="1676729" cy="727438"/>
              </a:xfrm>
              <a:custGeom>
                <a:avLst/>
                <a:gdLst>
                  <a:gd name="T0" fmla="*/ 555 w 2222"/>
                  <a:gd name="T1" fmla="*/ 964 h 964"/>
                  <a:gd name="T2" fmla="*/ 0 w 2222"/>
                  <a:gd name="T3" fmla="*/ 0 h 964"/>
                  <a:gd name="T4" fmla="*/ 2222 w 2222"/>
                  <a:gd name="T5" fmla="*/ 0 h 964"/>
                  <a:gd name="T6" fmla="*/ 1666 w 2222"/>
                  <a:gd name="T7" fmla="*/ 964 h 964"/>
                  <a:gd name="T8" fmla="*/ 555 w 2222"/>
                  <a:gd name="T9" fmla="*/ 964 h 9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2" h="964">
                    <a:moveTo>
                      <a:pt x="555" y="964"/>
                    </a:moveTo>
                    <a:lnTo>
                      <a:pt x="0" y="0"/>
                    </a:lnTo>
                    <a:lnTo>
                      <a:pt x="2222" y="0"/>
                    </a:lnTo>
                    <a:lnTo>
                      <a:pt x="1666" y="964"/>
                    </a:lnTo>
                    <a:lnTo>
                      <a:pt x="555" y="964"/>
                    </a:lnTo>
                    <a:close/>
                  </a:path>
                </a:pathLst>
              </a:custGeom>
              <a:solidFill>
                <a:schemeClr val="tx1">
                  <a:alpha val="10000"/>
                </a:schemeClr>
              </a:solidFill>
              <a:ln>
                <a:noFill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304815"/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TextBox 80">
                <a:extLst>
                  <a:ext uri="{FF2B5EF4-FFF2-40B4-BE49-F238E27FC236}">
                    <a16:creationId xmlns:a16="http://schemas.microsoft.com/office/drawing/2014/main" id="{1FD297B1-D57A-1E49-A4F9-FA7D33C75A11}"/>
                  </a:ext>
                </a:extLst>
              </p:cNvPr>
              <p:cNvSpPr txBox="1"/>
              <p:nvPr/>
            </p:nvSpPr>
            <p:spPr>
              <a:xfrm>
                <a:off x="7795632" y="3304005"/>
                <a:ext cx="1382092" cy="701960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algn="ctr" defTabSz="304815"/>
                <a:r>
                  <a:rPr lang="en-US" sz="1100" b="1" dirty="0">
                    <a:solidFill>
                      <a:srgbClr val="FFFFFF"/>
                    </a:solidFill>
                  </a:rPr>
                  <a:t>IKL</a:t>
                </a:r>
              </a:p>
              <a:p>
                <a:pPr algn="ctr" defTabSz="304815"/>
                <a:r>
                  <a:rPr lang="en-US" sz="1100" b="1" dirty="0">
                    <a:solidFill>
                      <a:srgbClr val="FFFFFF"/>
                    </a:solidFill>
                  </a:rPr>
                  <a:t>Initiative Climate Farm</a:t>
                </a:r>
              </a:p>
            </p:txBody>
          </p:sp>
        </p:grpSp>
        <p:pic>
          <p:nvPicPr>
            <p:cNvPr id="162" name="Grafik 106">
              <a:extLst>
                <a:ext uri="{FF2B5EF4-FFF2-40B4-BE49-F238E27FC236}">
                  <a16:creationId xmlns:a16="http://schemas.microsoft.com/office/drawing/2014/main" id="{5ACCB94F-01D8-911F-5CF8-EB4DC095A20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54239" y="1796567"/>
              <a:ext cx="528760" cy="528760"/>
            </a:xfrm>
            <a:prstGeom prst="rect">
              <a:avLst/>
            </a:prstGeom>
          </p:spPr>
        </p:pic>
      </p:grpSp>
      <p:grpSp>
        <p:nvGrpSpPr>
          <p:cNvPr id="166" name="Gruppieren 107">
            <a:extLst>
              <a:ext uri="{FF2B5EF4-FFF2-40B4-BE49-F238E27FC236}">
                <a16:creationId xmlns:a16="http://schemas.microsoft.com/office/drawing/2014/main" id="{2BAF1E22-B131-3BF4-31CE-E722B2D30662}"/>
              </a:ext>
            </a:extLst>
          </p:cNvPr>
          <p:cNvGrpSpPr/>
          <p:nvPr/>
        </p:nvGrpSpPr>
        <p:grpSpPr>
          <a:xfrm>
            <a:off x="9193046" y="4299985"/>
            <a:ext cx="1647128" cy="1429059"/>
            <a:chOff x="5150079" y="3401538"/>
            <a:chExt cx="1926503" cy="1671446"/>
          </a:xfrm>
        </p:grpSpPr>
        <p:grpSp>
          <p:nvGrpSpPr>
            <p:cNvPr id="167" name="Gruppieren 108">
              <a:extLst>
                <a:ext uri="{FF2B5EF4-FFF2-40B4-BE49-F238E27FC236}">
                  <a16:creationId xmlns:a16="http://schemas.microsoft.com/office/drawing/2014/main" id="{04D11E83-C922-C9A0-F5A0-E24CC1AE564B}"/>
                </a:ext>
              </a:extLst>
            </p:cNvPr>
            <p:cNvGrpSpPr/>
            <p:nvPr/>
          </p:nvGrpSpPr>
          <p:grpSpPr>
            <a:xfrm>
              <a:off x="5150079" y="3401538"/>
              <a:ext cx="1926503" cy="1671446"/>
              <a:chOff x="5923281" y="4114452"/>
              <a:chExt cx="1926503" cy="1671446"/>
            </a:xfrm>
          </p:grpSpPr>
          <p:sp>
            <p:nvSpPr>
              <p:cNvPr id="169" name="Freeform 5">
                <a:extLst>
                  <a:ext uri="{FF2B5EF4-FFF2-40B4-BE49-F238E27FC236}">
                    <a16:creationId xmlns:a16="http://schemas.microsoft.com/office/drawing/2014/main" id="{425B13B0-130E-6E9F-5C33-5063ED9223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3281" y="4114452"/>
                <a:ext cx="1926503" cy="1671446"/>
              </a:xfrm>
              <a:custGeom>
                <a:avLst/>
                <a:gdLst>
                  <a:gd name="T0" fmla="*/ 639 w 2553"/>
                  <a:gd name="T1" fmla="*/ 2215 h 2215"/>
                  <a:gd name="T2" fmla="*/ 0 w 2553"/>
                  <a:gd name="T3" fmla="*/ 1107 h 2215"/>
                  <a:gd name="T4" fmla="*/ 639 w 2553"/>
                  <a:gd name="T5" fmla="*/ 0 h 2215"/>
                  <a:gd name="T6" fmla="*/ 1915 w 2553"/>
                  <a:gd name="T7" fmla="*/ 0 h 2215"/>
                  <a:gd name="T8" fmla="*/ 2553 w 2553"/>
                  <a:gd name="T9" fmla="*/ 1107 h 2215"/>
                  <a:gd name="T10" fmla="*/ 1915 w 2553"/>
                  <a:gd name="T11" fmla="*/ 2215 h 2215"/>
                  <a:gd name="T12" fmla="*/ 639 w 2553"/>
                  <a:gd name="T13" fmla="*/ 2215 h 2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53" h="2215">
                    <a:moveTo>
                      <a:pt x="639" y="2215"/>
                    </a:moveTo>
                    <a:lnTo>
                      <a:pt x="0" y="1107"/>
                    </a:lnTo>
                    <a:lnTo>
                      <a:pt x="639" y="0"/>
                    </a:lnTo>
                    <a:lnTo>
                      <a:pt x="1915" y="0"/>
                    </a:lnTo>
                    <a:lnTo>
                      <a:pt x="2553" y="1107"/>
                    </a:lnTo>
                    <a:lnTo>
                      <a:pt x="1915" y="2215"/>
                    </a:lnTo>
                    <a:lnTo>
                      <a:pt x="639" y="2215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304815"/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0" name="Freeform 6">
                <a:extLst>
                  <a:ext uri="{FF2B5EF4-FFF2-40B4-BE49-F238E27FC236}">
                    <a16:creationId xmlns:a16="http://schemas.microsoft.com/office/drawing/2014/main" id="{FA3FCE0D-0222-83EF-1B22-F3AA56E36A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8545" y="4949603"/>
                <a:ext cx="1676729" cy="727438"/>
              </a:xfrm>
              <a:custGeom>
                <a:avLst/>
                <a:gdLst>
                  <a:gd name="T0" fmla="*/ 555 w 2222"/>
                  <a:gd name="T1" fmla="*/ 964 h 964"/>
                  <a:gd name="T2" fmla="*/ 0 w 2222"/>
                  <a:gd name="T3" fmla="*/ 0 h 964"/>
                  <a:gd name="T4" fmla="*/ 2222 w 2222"/>
                  <a:gd name="T5" fmla="*/ 0 h 964"/>
                  <a:gd name="T6" fmla="*/ 1666 w 2222"/>
                  <a:gd name="T7" fmla="*/ 964 h 964"/>
                  <a:gd name="T8" fmla="*/ 555 w 2222"/>
                  <a:gd name="T9" fmla="*/ 964 h 9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2" h="964">
                    <a:moveTo>
                      <a:pt x="555" y="964"/>
                    </a:moveTo>
                    <a:lnTo>
                      <a:pt x="0" y="0"/>
                    </a:lnTo>
                    <a:lnTo>
                      <a:pt x="2222" y="0"/>
                    </a:lnTo>
                    <a:lnTo>
                      <a:pt x="1666" y="964"/>
                    </a:lnTo>
                    <a:lnTo>
                      <a:pt x="555" y="964"/>
                    </a:lnTo>
                    <a:close/>
                  </a:path>
                </a:pathLst>
              </a:custGeom>
              <a:solidFill>
                <a:schemeClr val="tx1">
                  <a:alpha val="10000"/>
                </a:schemeClr>
              </a:solidFill>
              <a:ln>
                <a:noFill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304815"/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1" name="TextBox 80">
                <a:extLst>
                  <a:ext uri="{FF2B5EF4-FFF2-40B4-BE49-F238E27FC236}">
                    <a16:creationId xmlns:a16="http://schemas.microsoft.com/office/drawing/2014/main" id="{CF880DAC-812F-168D-637B-28E5BDCC8A4A}"/>
                  </a:ext>
                </a:extLst>
              </p:cNvPr>
              <p:cNvSpPr txBox="1"/>
              <p:nvPr/>
            </p:nvSpPr>
            <p:spPr>
              <a:xfrm>
                <a:off x="6135392" y="4296231"/>
                <a:ext cx="1521198" cy="503971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algn="ctr" defTabSz="304815"/>
                <a:r>
                  <a:rPr lang="en-US" sz="1100" b="1" dirty="0" err="1">
                    <a:solidFill>
                      <a:srgbClr val="FFFFFF"/>
                    </a:solidFill>
                  </a:rPr>
                  <a:t>Tierbestände</a:t>
                </a:r>
                <a:r>
                  <a:rPr lang="en-US" sz="1100" b="1" dirty="0">
                    <a:solidFill>
                      <a:srgbClr val="FFFFFF"/>
                    </a:solidFill>
                  </a:rPr>
                  <a:t> </a:t>
                </a:r>
                <a:r>
                  <a:rPr lang="en-US" sz="1100" b="1" dirty="0" err="1">
                    <a:solidFill>
                      <a:srgbClr val="FFFFFF"/>
                    </a:solidFill>
                  </a:rPr>
                  <a:t>Weidetagebuch</a:t>
                </a:r>
                <a:endParaRPr lang="en-US" sz="1100" b="1" dirty="0">
                  <a:solidFill>
                    <a:srgbClr val="FFFFFF"/>
                  </a:solidFill>
                </a:endParaRPr>
              </a:p>
            </p:txBody>
          </p:sp>
        </p:grpSp>
        <p:pic>
          <p:nvPicPr>
            <p:cNvPr id="168" name="Grafik 109">
              <a:extLst>
                <a:ext uri="{FF2B5EF4-FFF2-40B4-BE49-F238E27FC236}">
                  <a16:creationId xmlns:a16="http://schemas.microsoft.com/office/drawing/2014/main" id="{5573694B-8E55-9D6A-68E0-EE700432589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16137" y="4371049"/>
              <a:ext cx="819207" cy="516263"/>
            </a:xfrm>
            <a:prstGeom prst="rect">
              <a:avLst/>
            </a:prstGeom>
          </p:spPr>
        </p:pic>
      </p:grpSp>
      <p:grpSp>
        <p:nvGrpSpPr>
          <p:cNvPr id="172" name="Gruppieren 3">
            <a:extLst>
              <a:ext uri="{FF2B5EF4-FFF2-40B4-BE49-F238E27FC236}">
                <a16:creationId xmlns:a16="http://schemas.microsoft.com/office/drawing/2014/main" id="{35A3A8F0-50CB-F4B3-7CFE-E6BFAB496D44}"/>
              </a:ext>
            </a:extLst>
          </p:cNvPr>
          <p:cNvGrpSpPr/>
          <p:nvPr/>
        </p:nvGrpSpPr>
        <p:grpSpPr>
          <a:xfrm>
            <a:off x="5275527" y="2054825"/>
            <a:ext cx="1647128" cy="1429059"/>
            <a:chOff x="5331550" y="1889382"/>
            <a:chExt cx="1647128" cy="1429059"/>
          </a:xfrm>
        </p:grpSpPr>
        <p:grpSp>
          <p:nvGrpSpPr>
            <p:cNvPr id="173" name="Gruppieren 10">
              <a:extLst>
                <a:ext uri="{FF2B5EF4-FFF2-40B4-BE49-F238E27FC236}">
                  <a16:creationId xmlns:a16="http://schemas.microsoft.com/office/drawing/2014/main" id="{404E418E-6EBB-14A9-AAD6-227B19E397AC}"/>
                </a:ext>
              </a:extLst>
            </p:cNvPr>
            <p:cNvGrpSpPr/>
            <p:nvPr/>
          </p:nvGrpSpPr>
          <p:grpSpPr>
            <a:xfrm>
              <a:off x="5331550" y="1889382"/>
              <a:ext cx="1647128" cy="1429059"/>
              <a:chOff x="2771889" y="2352487"/>
              <a:chExt cx="1926503" cy="1671446"/>
            </a:xfrm>
          </p:grpSpPr>
          <p:sp>
            <p:nvSpPr>
              <p:cNvPr id="175" name="Freeform 5">
                <a:extLst>
                  <a:ext uri="{FF2B5EF4-FFF2-40B4-BE49-F238E27FC236}">
                    <a16:creationId xmlns:a16="http://schemas.microsoft.com/office/drawing/2014/main" id="{D13A463B-4D80-C46C-CC7C-9E3FEE047C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1889" y="2352487"/>
                <a:ext cx="1926503" cy="1671446"/>
              </a:xfrm>
              <a:custGeom>
                <a:avLst/>
                <a:gdLst>
                  <a:gd name="T0" fmla="*/ 639 w 2553"/>
                  <a:gd name="T1" fmla="*/ 2215 h 2215"/>
                  <a:gd name="T2" fmla="*/ 0 w 2553"/>
                  <a:gd name="T3" fmla="*/ 1107 h 2215"/>
                  <a:gd name="T4" fmla="*/ 639 w 2553"/>
                  <a:gd name="T5" fmla="*/ 0 h 2215"/>
                  <a:gd name="T6" fmla="*/ 1915 w 2553"/>
                  <a:gd name="T7" fmla="*/ 0 h 2215"/>
                  <a:gd name="T8" fmla="*/ 2553 w 2553"/>
                  <a:gd name="T9" fmla="*/ 1107 h 2215"/>
                  <a:gd name="T10" fmla="*/ 1915 w 2553"/>
                  <a:gd name="T11" fmla="*/ 2215 h 2215"/>
                  <a:gd name="T12" fmla="*/ 639 w 2553"/>
                  <a:gd name="T13" fmla="*/ 2215 h 2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53" h="2215">
                    <a:moveTo>
                      <a:pt x="639" y="2215"/>
                    </a:moveTo>
                    <a:lnTo>
                      <a:pt x="0" y="1107"/>
                    </a:lnTo>
                    <a:lnTo>
                      <a:pt x="639" y="0"/>
                    </a:lnTo>
                    <a:lnTo>
                      <a:pt x="1915" y="0"/>
                    </a:lnTo>
                    <a:lnTo>
                      <a:pt x="2553" y="1107"/>
                    </a:lnTo>
                    <a:lnTo>
                      <a:pt x="1915" y="2215"/>
                    </a:lnTo>
                    <a:lnTo>
                      <a:pt x="639" y="2215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304815"/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6" name="Freeform 6">
                <a:extLst>
                  <a:ext uri="{FF2B5EF4-FFF2-40B4-BE49-F238E27FC236}">
                    <a16:creationId xmlns:a16="http://schemas.microsoft.com/office/drawing/2014/main" id="{567B082D-233F-3DE3-719F-E9DA8CB30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7153" y="3187638"/>
                <a:ext cx="1676729" cy="727438"/>
              </a:xfrm>
              <a:custGeom>
                <a:avLst/>
                <a:gdLst>
                  <a:gd name="T0" fmla="*/ 555 w 2222"/>
                  <a:gd name="T1" fmla="*/ 964 h 964"/>
                  <a:gd name="T2" fmla="*/ 0 w 2222"/>
                  <a:gd name="T3" fmla="*/ 0 h 964"/>
                  <a:gd name="T4" fmla="*/ 2222 w 2222"/>
                  <a:gd name="T5" fmla="*/ 0 h 964"/>
                  <a:gd name="T6" fmla="*/ 1666 w 2222"/>
                  <a:gd name="T7" fmla="*/ 964 h 964"/>
                  <a:gd name="T8" fmla="*/ 555 w 2222"/>
                  <a:gd name="T9" fmla="*/ 964 h 9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2" h="964">
                    <a:moveTo>
                      <a:pt x="555" y="964"/>
                    </a:moveTo>
                    <a:lnTo>
                      <a:pt x="0" y="0"/>
                    </a:lnTo>
                    <a:lnTo>
                      <a:pt x="2222" y="0"/>
                    </a:lnTo>
                    <a:lnTo>
                      <a:pt x="1666" y="964"/>
                    </a:lnTo>
                    <a:lnTo>
                      <a:pt x="555" y="964"/>
                    </a:lnTo>
                    <a:close/>
                  </a:path>
                </a:pathLst>
              </a:custGeom>
              <a:solidFill>
                <a:schemeClr val="tx1">
                  <a:alpha val="10000"/>
                </a:schemeClr>
              </a:solidFill>
              <a:ln>
                <a:noFill/>
              </a:ln>
            </p:spPr>
            <p:txBody>
              <a:bodyPr vert="horz" wrap="square" lIns="60960" tIns="30480" rIns="60960" bIns="30480" numCol="1" anchor="t" anchorCtr="0" compatLnSpc="1">
                <a:prstTxWarp prst="textNoShape">
                  <a:avLst/>
                </a:prstTxWarp>
              </a:bodyPr>
              <a:lstStyle/>
              <a:p>
                <a:pPr defTabSz="304815"/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7" name="TextBox 77">
                <a:extLst>
                  <a:ext uri="{FF2B5EF4-FFF2-40B4-BE49-F238E27FC236}">
                    <a16:creationId xmlns:a16="http://schemas.microsoft.com/office/drawing/2014/main" id="{ABEBB769-C69C-EDC0-EE01-6C621E001903}"/>
                  </a:ext>
                </a:extLst>
              </p:cNvPr>
              <p:cNvSpPr txBox="1"/>
              <p:nvPr/>
            </p:nvSpPr>
            <p:spPr>
              <a:xfrm>
                <a:off x="3019902" y="2463598"/>
                <a:ext cx="1450282" cy="701960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algn="ctr" defTabSz="304815"/>
                <a:r>
                  <a:rPr lang="en-US" sz="1100" b="1" dirty="0" err="1">
                    <a:solidFill>
                      <a:srgbClr val="FFFFFF"/>
                    </a:solidFill>
                  </a:rPr>
                  <a:t>Schlagkartei</a:t>
                </a:r>
                <a:r>
                  <a:rPr lang="en-US" sz="1100" b="1" dirty="0">
                    <a:solidFill>
                      <a:srgbClr val="FFFFFF"/>
                    </a:solidFill>
                  </a:rPr>
                  <a:t>, </a:t>
                </a:r>
                <a:r>
                  <a:rPr lang="en-US" sz="1100" b="1" dirty="0" err="1">
                    <a:solidFill>
                      <a:srgbClr val="FFFFFF"/>
                    </a:solidFill>
                  </a:rPr>
                  <a:t>DüVo</a:t>
                </a:r>
                <a:r>
                  <a:rPr lang="en-US" sz="1100" b="1" dirty="0">
                    <a:solidFill>
                      <a:srgbClr val="FFFFFF"/>
                    </a:solidFill>
                  </a:rPr>
                  <a:t>, Cross Compliance</a:t>
                </a:r>
              </a:p>
            </p:txBody>
          </p:sp>
        </p:grpSp>
        <p:pic>
          <p:nvPicPr>
            <p:cNvPr id="174" name="Picture 6" descr="https://cdn-icons-png.flaticon.com/512/1188/1188077.png">
              <a:extLst>
                <a:ext uri="{FF2B5EF4-FFF2-40B4-BE49-F238E27FC236}">
                  <a16:creationId xmlns:a16="http://schemas.microsoft.com/office/drawing/2014/main" id="{B87E1AAE-C521-EFBE-3BE2-89472AA63CE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3964" y="2649714"/>
              <a:ext cx="550430" cy="550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660041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44" b="7744"/>
          <a:stretch>
            <a:fillRect/>
          </a:stretch>
        </p:blipFill>
        <p:spPr>
          <a:xfrm>
            <a:off x="-5877" y="281784"/>
            <a:ext cx="12192000" cy="6576215"/>
          </a:xfrm>
          <a:custGeom>
            <a:avLst/>
            <a:gdLst>
              <a:gd name="connsiteX0" fmla="*/ 10742301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223370 h 6858000"/>
              <a:gd name="connsiteX3" fmla="*/ 5621103 w 12192000"/>
              <a:gd name="connsiteY3" fmla="*/ 6858000 h 6858000"/>
              <a:gd name="connsiteX4" fmla="*/ 0 w 12192000"/>
              <a:gd name="connsiteY4" fmla="*/ 6858000 h 6858000"/>
              <a:gd name="connsiteX5" fmla="*/ 0 w 12192000"/>
              <a:gd name="connsiteY5" fmla="*/ 1081483 h 6858000"/>
              <a:gd name="connsiteX6" fmla="*/ 1 w 12192000"/>
              <a:gd name="connsiteY6" fmla="*/ 1081483 h 6858000"/>
              <a:gd name="connsiteX7" fmla="*/ 1 w 12192000"/>
              <a:gd name="connsiteY7" fmla="*/ 1081485 h 6858000"/>
              <a:gd name="connsiteX8" fmla="*/ 354 w 12192000"/>
              <a:gd name="connsiteY8" fmla="*/ 108144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10742301" y="0"/>
                </a:moveTo>
                <a:lnTo>
                  <a:pt x="12192000" y="0"/>
                </a:lnTo>
                <a:lnTo>
                  <a:pt x="12192000" y="6223370"/>
                </a:lnTo>
                <a:lnTo>
                  <a:pt x="5621103" y="6858000"/>
                </a:lnTo>
                <a:lnTo>
                  <a:pt x="0" y="6858000"/>
                </a:lnTo>
                <a:lnTo>
                  <a:pt x="0" y="1081483"/>
                </a:lnTo>
                <a:lnTo>
                  <a:pt x="1" y="1081483"/>
                </a:lnTo>
                <a:lnTo>
                  <a:pt x="1" y="1081485"/>
                </a:lnTo>
                <a:lnTo>
                  <a:pt x="354" y="1081447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</p:pic>
      <p:sp>
        <p:nvSpPr>
          <p:cNvPr id="57" name="Textfeld 56">
            <a:extLst>
              <a:ext uri="{FF2B5EF4-FFF2-40B4-BE49-F238E27FC236}">
                <a16:creationId xmlns:a16="http://schemas.microsoft.com/office/drawing/2014/main" id="{42F5AE94-26CB-4B52-9D32-BB3573223A2E}"/>
              </a:ext>
            </a:extLst>
          </p:cNvPr>
          <p:cNvSpPr txBox="1">
            <a:spLocks/>
          </p:cNvSpPr>
          <p:nvPr/>
        </p:nvSpPr>
        <p:spPr>
          <a:xfrm>
            <a:off x="8110368" y="213298"/>
            <a:ext cx="3708568" cy="5948220"/>
          </a:xfrm>
          <a:custGeom>
            <a:avLst/>
            <a:gdLst>
              <a:gd name="connsiteX0" fmla="*/ 3708568 w 3708568"/>
              <a:gd name="connsiteY0" fmla="*/ 0 h 5876555"/>
              <a:gd name="connsiteX1" fmla="*/ 3708568 w 3708568"/>
              <a:gd name="connsiteY1" fmla="*/ 5525754 h 5876555"/>
              <a:gd name="connsiteX2" fmla="*/ 0 w 3708568"/>
              <a:gd name="connsiteY2" fmla="*/ 5876555 h 5876555"/>
              <a:gd name="connsiteX3" fmla="*/ 0 w 3708568"/>
              <a:gd name="connsiteY3" fmla="*/ 350801 h 5876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8568" h="5876555">
                <a:moveTo>
                  <a:pt x="3708568" y="0"/>
                </a:moveTo>
                <a:lnTo>
                  <a:pt x="3708568" y="5525754"/>
                </a:lnTo>
                <a:lnTo>
                  <a:pt x="0" y="5876555"/>
                </a:lnTo>
                <a:lnTo>
                  <a:pt x="0" y="350801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360000" tIns="360000" rIns="360000" bIns="360000">
            <a:noAutofit/>
          </a:bodyPr>
          <a:lstStyle>
            <a:lvl1pPr marL="358775" indent="-358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Font typeface="Arial" panose="020B0604020202020204" pitchFamily="34" charset="0"/>
              <a:buChar char="&gt;"/>
              <a:defRPr sz="1400" kern="6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5963" indent="-3571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Font typeface="Arial" panose="020B0604020202020204" pitchFamily="34" charset="0"/>
              <a:buChar char="&gt;"/>
              <a:defRPr sz="1400" kern="6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363" indent="-3603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SzPct val="150000"/>
              <a:buFontTx/>
              <a:buBlip>
                <a:blip r:embed="rId3"/>
              </a:buBlip>
              <a:defRPr sz="1400" kern="6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b="1" kern="600" cap="none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e-DE" dirty="0"/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42F5AE94-26CB-4B52-9D32-BB3573223A2E}"/>
              </a:ext>
            </a:extLst>
          </p:cNvPr>
          <p:cNvSpPr txBox="1">
            <a:spLocks/>
          </p:cNvSpPr>
          <p:nvPr/>
        </p:nvSpPr>
        <p:spPr>
          <a:xfrm>
            <a:off x="4238777" y="634162"/>
            <a:ext cx="3708569" cy="5876555"/>
          </a:xfrm>
          <a:custGeom>
            <a:avLst/>
            <a:gdLst>
              <a:gd name="connsiteX0" fmla="*/ 3708569 w 3708569"/>
              <a:gd name="connsiteY0" fmla="*/ 0 h 5916415"/>
              <a:gd name="connsiteX1" fmla="*/ 3708569 w 3708569"/>
              <a:gd name="connsiteY1" fmla="*/ 5565614 h 5916415"/>
              <a:gd name="connsiteX2" fmla="*/ 0 w 3708569"/>
              <a:gd name="connsiteY2" fmla="*/ 5916415 h 5916415"/>
              <a:gd name="connsiteX3" fmla="*/ 0 w 3708569"/>
              <a:gd name="connsiteY3" fmla="*/ 350801 h 5916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8569" h="5916415">
                <a:moveTo>
                  <a:pt x="3708569" y="0"/>
                </a:moveTo>
                <a:lnTo>
                  <a:pt x="3708569" y="5565614"/>
                </a:lnTo>
                <a:lnTo>
                  <a:pt x="0" y="5916415"/>
                </a:lnTo>
                <a:lnTo>
                  <a:pt x="0" y="350801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360000" tIns="360000" rIns="360000" bIns="360000">
            <a:noAutofit/>
          </a:bodyPr>
          <a:lstStyle>
            <a:lvl1pPr marL="358775" indent="-358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Font typeface="Arial" panose="020B0604020202020204" pitchFamily="34" charset="0"/>
              <a:buChar char="&gt;"/>
              <a:defRPr sz="1400" kern="6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5963" indent="-3571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Font typeface="Arial" panose="020B0604020202020204" pitchFamily="34" charset="0"/>
              <a:buChar char="&gt;"/>
              <a:defRPr sz="1400" kern="6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363" indent="-3603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SzPct val="150000"/>
              <a:buFontTx/>
              <a:buBlip>
                <a:blip r:embed="rId3"/>
              </a:buBlip>
              <a:defRPr sz="1400" kern="6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b="1" kern="600" cap="none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e-DE" dirty="0"/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42F5AE94-26CB-4B52-9D32-BB3573223A2E}"/>
              </a:ext>
            </a:extLst>
          </p:cNvPr>
          <p:cNvSpPr txBox="1">
            <a:spLocks/>
          </p:cNvSpPr>
          <p:nvPr/>
        </p:nvSpPr>
        <p:spPr>
          <a:xfrm>
            <a:off x="405432" y="977301"/>
            <a:ext cx="3708569" cy="5880698"/>
          </a:xfrm>
          <a:custGeom>
            <a:avLst/>
            <a:gdLst>
              <a:gd name="connsiteX0" fmla="*/ 3708569 w 3708569"/>
              <a:gd name="connsiteY0" fmla="*/ 0 h 5956331"/>
              <a:gd name="connsiteX1" fmla="*/ 3708569 w 3708569"/>
              <a:gd name="connsiteY1" fmla="*/ 5605530 h 5956331"/>
              <a:gd name="connsiteX2" fmla="*/ 0 w 3708569"/>
              <a:gd name="connsiteY2" fmla="*/ 5956331 h 5956331"/>
              <a:gd name="connsiteX3" fmla="*/ 0 w 3708569"/>
              <a:gd name="connsiteY3" fmla="*/ 350801 h 5956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8569" h="5956331">
                <a:moveTo>
                  <a:pt x="3708569" y="0"/>
                </a:moveTo>
                <a:lnTo>
                  <a:pt x="3708569" y="5605530"/>
                </a:lnTo>
                <a:lnTo>
                  <a:pt x="0" y="5956331"/>
                </a:lnTo>
                <a:lnTo>
                  <a:pt x="0" y="35080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60000" tIns="360000" rIns="360000" bIns="360000">
            <a:noAutofit/>
          </a:bodyPr>
          <a:lstStyle>
            <a:lvl1pPr marL="358775" indent="-358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Font typeface="Arial" panose="020B0604020202020204" pitchFamily="34" charset="0"/>
              <a:buChar char="&gt;"/>
              <a:defRPr sz="1400" kern="6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5963" indent="-3571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Font typeface="Arial" panose="020B0604020202020204" pitchFamily="34" charset="0"/>
              <a:buChar char="&gt;"/>
              <a:defRPr sz="1400" kern="6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363" indent="-3603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SzPct val="150000"/>
              <a:buFontTx/>
              <a:buBlip>
                <a:blip r:embed="rId3"/>
              </a:buBlip>
              <a:defRPr sz="1400" kern="6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b="1" kern="600" cap="none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0" y="6629981"/>
            <a:ext cx="187325" cy="246062"/>
          </a:xfrm>
        </p:spPr>
        <p:txBody>
          <a:bodyPr/>
          <a:lstStyle/>
          <a:p>
            <a:fld id="{E6101334-2212-47E5-96F0-086CB39DE767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8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 txBox="1">
            <a:spLocks/>
          </p:cNvSpPr>
          <p:nvPr/>
        </p:nvSpPr>
        <p:spPr>
          <a:xfrm>
            <a:off x="10959172" y="107671"/>
            <a:ext cx="1226951" cy="1226951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5963" indent="-3571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&gt;"/>
              <a:defRPr sz="1400" kern="6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3603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50000"/>
              <a:buFontTx/>
              <a:buBlip>
                <a:blip r:embed="rId4"/>
              </a:buBlip>
              <a:defRPr sz="1400" kern="6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b="1" kern="600" cap="none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4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Alles </a:t>
            </a:r>
            <a:br>
              <a:rPr lang="de-DE" dirty="0"/>
            </a:br>
            <a:r>
              <a:rPr lang="de-DE" dirty="0"/>
              <a:t>im Blick</a:t>
            </a:r>
          </a:p>
        </p:txBody>
      </p:sp>
      <p:sp>
        <p:nvSpPr>
          <p:cNvPr id="17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 txBox="1">
            <a:spLocks/>
          </p:cNvSpPr>
          <p:nvPr/>
        </p:nvSpPr>
        <p:spPr>
          <a:xfrm>
            <a:off x="12360101" y="-1715020"/>
            <a:ext cx="2069066" cy="1715020"/>
          </a:xfrm>
          <a:prstGeom prst="rect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None/>
              <a:defRPr sz="1400" kern="600" spc="0">
                <a:blipFill>
                  <a:blip r:embed="rId5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715963" indent="-3571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&gt;"/>
              <a:defRPr sz="1400" kern="6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3603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50000"/>
              <a:buFontTx/>
              <a:buBlip>
                <a:blip r:embed="rId4"/>
              </a:buBlip>
              <a:defRPr sz="1400" kern="6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b="1" kern="600" cap="none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4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.</a:t>
            </a:r>
            <a:endParaRPr lang="de-DE" dirty="0"/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10280FFA-6971-4F36-ABC9-4733370BADA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63503" y="2055496"/>
            <a:ext cx="3488742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de-DE" sz="1600" dirty="0"/>
              <a:t>Stammdaten und Organisation</a:t>
            </a:r>
          </a:p>
          <a:p>
            <a:pPr lvl="2"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de-DE" sz="1600" dirty="0"/>
              <a:t>Pacht- Tausch, Eigentums-</a:t>
            </a:r>
            <a:r>
              <a:rPr lang="de-DE" sz="1600" dirty="0" err="1"/>
              <a:t>flächenverwaltung</a:t>
            </a:r>
            <a:endParaRPr lang="de-DE" sz="1600" dirty="0"/>
          </a:p>
          <a:p>
            <a:pPr lvl="2"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de-DE" sz="1600" dirty="0"/>
              <a:t>ALKIS® und GIS</a:t>
            </a:r>
          </a:p>
          <a:p>
            <a:pPr lvl="2"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de-DE" sz="1600" dirty="0" err="1"/>
              <a:t>Map</a:t>
            </a:r>
            <a:r>
              <a:rPr lang="de-DE" sz="1600" dirty="0"/>
              <a:t> Server</a:t>
            </a:r>
          </a:p>
          <a:p>
            <a:pPr lvl="2"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de-DE" sz="1600" dirty="0"/>
              <a:t>Zahlungsmanagement, SEPA</a:t>
            </a:r>
          </a:p>
          <a:p>
            <a:pPr lvl="2"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de-DE" sz="1600" dirty="0"/>
              <a:t>Grundsteuer</a:t>
            </a:r>
          </a:p>
          <a:p>
            <a:pPr lvl="2"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de-DE" sz="1600" dirty="0"/>
              <a:t>Umfangreiche Auswertungen und Nachweise</a:t>
            </a:r>
          </a:p>
          <a:p>
            <a:pPr lvl="2"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de-DE" sz="1600" dirty="0"/>
              <a:t>Flex GPS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408691" y="1371235"/>
            <a:ext cx="3705310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de-DE" b="1" kern="600" dirty="0">
                <a:solidFill>
                  <a:srgbClr val="FFFFFF"/>
                </a:solidFill>
              </a:rPr>
              <a:t>NEXT Pacht- und </a:t>
            </a:r>
          </a:p>
          <a:p>
            <a:pPr algn="ctr">
              <a:buClr>
                <a:schemeClr val="tx2"/>
              </a:buClr>
            </a:pPr>
            <a:r>
              <a:rPr lang="de-DE" b="1" kern="600" dirty="0">
                <a:solidFill>
                  <a:srgbClr val="FFFFFF"/>
                </a:solidFill>
              </a:rPr>
              <a:t>Flächenverwaltung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10280FFA-6971-4F36-ABC9-4733370BADA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436614" y="2055496"/>
            <a:ext cx="3492094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>
              <a:buFont typeface="Wingdings" panose="05000000000000000000" pitchFamily="2" charset="2"/>
              <a:buChar char="ü"/>
            </a:pPr>
            <a:r>
              <a:rPr lang="de-DE" sz="1600" dirty="0">
                <a:solidFill>
                  <a:schemeClr val="bg1"/>
                </a:solidFill>
              </a:rPr>
              <a:t>Stammdaten immer aktuell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de-DE" sz="1600" dirty="0">
                <a:solidFill>
                  <a:schemeClr val="bg1"/>
                </a:solidFill>
              </a:rPr>
              <a:t>GIS mit allen relevanten Ebenen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de-DE" sz="1600" dirty="0">
                <a:solidFill>
                  <a:schemeClr val="bg1"/>
                </a:solidFill>
              </a:rPr>
              <a:t>EKP Erntejahr- und Kostenplanung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de-DE" sz="1600" dirty="0">
                <a:solidFill>
                  <a:schemeClr val="bg1"/>
                </a:solidFill>
              </a:rPr>
              <a:t>Gemüsebauschlagkartei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de-DE" sz="1600" dirty="0">
                <a:solidFill>
                  <a:schemeClr val="bg1"/>
                </a:solidFill>
              </a:rPr>
              <a:t>Farm &amp; Fieldmanagement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de-DE" sz="1600" dirty="0" err="1">
                <a:solidFill>
                  <a:schemeClr val="bg1"/>
                </a:solidFill>
              </a:rPr>
              <a:t>DüVo</a:t>
            </a:r>
            <a:r>
              <a:rPr lang="de-DE" sz="1600" dirty="0">
                <a:solidFill>
                  <a:schemeClr val="bg1"/>
                </a:solidFill>
              </a:rPr>
              <a:t>, Stoffstrombilanz, Schnittstellen </a:t>
            </a:r>
            <a:r>
              <a:rPr lang="de-DE" dirty="0">
                <a:solidFill>
                  <a:schemeClr val="bg1"/>
                </a:solidFill>
              </a:rPr>
              <a:t>(ENNI, </a:t>
            </a:r>
            <a:r>
              <a:rPr lang="de-DE" dirty="0" err="1">
                <a:solidFill>
                  <a:schemeClr val="bg1"/>
                </a:solidFill>
              </a:rPr>
              <a:t>BeSyd</a:t>
            </a:r>
            <a:r>
              <a:rPr lang="de-DE" dirty="0">
                <a:solidFill>
                  <a:schemeClr val="bg1"/>
                </a:solidFill>
              </a:rPr>
              <a:t> etc..)</a:t>
            </a:r>
            <a:endParaRPr lang="de-DE" sz="1600" dirty="0">
              <a:solidFill>
                <a:schemeClr val="bg1"/>
              </a:solidFill>
            </a:endParaRPr>
          </a:p>
          <a:p>
            <a:pPr lvl="2">
              <a:buFont typeface="Wingdings" panose="05000000000000000000" pitchFamily="2" charset="2"/>
              <a:buChar char="ü"/>
            </a:pPr>
            <a:r>
              <a:rPr lang="de-DE" sz="1600" dirty="0">
                <a:solidFill>
                  <a:schemeClr val="bg1"/>
                </a:solidFill>
              </a:rPr>
              <a:t>Mobile APP und Aufträge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de-DE" sz="1600" dirty="0">
                <a:solidFill>
                  <a:schemeClr val="bg1"/>
                </a:solidFill>
              </a:rPr>
              <a:t>NEXT </a:t>
            </a:r>
            <a:r>
              <a:rPr lang="de-DE" sz="1600" dirty="0" err="1">
                <a:solidFill>
                  <a:schemeClr val="bg1"/>
                </a:solidFill>
              </a:rPr>
              <a:t>Machine</a:t>
            </a:r>
            <a:r>
              <a:rPr lang="de-DE" sz="1600" dirty="0">
                <a:solidFill>
                  <a:schemeClr val="bg1"/>
                </a:solidFill>
              </a:rPr>
              <a:t> Management </a:t>
            </a:r>
            <a:r>
              <a:rPr lang="de-DE" dirty="0">
                <a:solidFill>
                  <a:schemeClr val="bg1"/>
                </a:solidFill>
              </a:rPr>
              <a:t>(MyJD.com, </a:t>
            </a:r>
            <a:r>
              <a:rPr lang="de-DE" dirty="0" err="1">
                <a:solidFill>
                  <a:schemeClr val="bg1"/>
                </a:solidFill>
              </a:rPr>
              <a:t>AgriRouter</a:t>
            </a:r>
            <a:r>
              <a:rPr lang="de-DE" dirty="0">
                <a:solidFill>
                  <a:schemeClr val="bg1"/>
                </a:solidFill>
              </a:rPr>
              <a:t> u.a.)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4238778" y="1371235"/>
            <a:ext cx="3689930" cy="2769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Aft>
                <a:spcPts val="1200"/>
              </a:spcAft>
              <a:buClr>
                <a:schemeClr val="tx2"/>
              </a:buClr>
            </a:pPr>
            <a:r>
              <a:rPr lang="de-DE" b="1" kern="600" dirty="0">
                <a:solidFill>
                  <a:schemeClr val="bg1"/>
                </a:solidFill>
              </a:rPr>
              <a:t>NEXT Schlagkartei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10280FFA-6971-4F36-ABC9-4733370BADA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8586700" y="2055496"/>
            <a:ext cx="3129584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>
              <a:buFont typeface="Wingdings" panose="05000000000000000000" pitchFamily="2" charset="2"/>
              <a:buChar char="ü"/>
            </a:pPr>
            <a:r>
              <a:rPr lang="de-DE" sz="1600" dirty="0">
                <a:solidFill>
                  <a:schemeClr val="bg1"/>
                </a:solidFill>
              </a:rPr>
              <a:t>GPS Bodenproben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de-DE" sz="1600" dirty="0" err="1">
                <a:solidFill>
                  <a:schemeClr val="bg1"/>
                </a:solidFill>
              </a:rPr>
              <a:t>Talking</a:t>
            </a:r>
            <a:r>
              <a:rPr lang="de-DE" sz="1600" dirty="0">
                <a:solidFill>
                  <a:schemeClr val="bg1"/>
                </a:solidFill>
              </a:rPr>
              <a:t> Fields Satellitenauswertung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de-DE" sz="1600" dirty="0">
                <a:solidFill>
                  <a:schemeClr val="bg1"/>
                </a:solidFill>
              </a:rPr>
              <a:t>Applikationskarten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de-DE" sz="1600" dirty="0">
                <a:solidFill>
                  <a:schemeClr val="bg1"/>
                </a:solidFill>
              </a:rPr>
              <a:t>Auftragsmanagement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de-DE" sz="1600" dirty="0">
                <a:solidFill>
                  <a:schemeClr val="bg1"/>
                </a:solidFill>
              </a:rPr>
              <a:t>NEXT </a:t>
            </a:r>
            <a:r>
              <a:rPr lang="de-DE" sz="1600" dirty="0" err="1">
                <a:solidFill>
                  <a:schemeClr val="bg1"/>
                </a:solidFill>
              </a:rPr>
              <a:t>Machine</a:t>
            </a:r>
            <a:r>
              <a:rPr lang="de-DE" sz="1600" dirty="0">
                <a:solidFill>
                  <a:schemeClr val="bg1"/>
                </a:solidFill>
              </a:rPr>
              <a:t> Management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de-DE" sz="1600" dirty="0" err="1">
                <a:solidFill>
                  <a:schemeClr val="bg1"/>
                </a:solidFill>
              </a:rPr>
              <a:t>Map</a:t>
            </a:r>
            <a:r>
              <a:rPr lang="de-DE" sz="1600" dirty="0">
                <a:solidFill>
                  <a:schemeClr val="bg1"/>
                </a:solidFill>
              </a:rPr>
              <a:t> Server</a:t>
            </a:r>
          </a:p>
        </p:txBody>
      </p:sp>
      <p:sp>
        <p:nvSpPr>
          <p:cNvPr id="48" name="Textfeld 47"/>
          <p:cNvSpPr txBox="1"/>
          <p:nvPr/>
        </p:nvSpPr>
        <p:spPr>
          <a:xfrm>
            <a:off x="8110367" y="1371235"/>
            <a:ext cx="3672941" cy="2769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lvl="0" algn="ctr" defTabSz="914400">
              <a:spcAft>
                <a:spcPts val="1200"/>
              </a:spcAft>
              <a:buClr>
                <a:srgbClr val="000000"/>
              </a:buClr>
              <a:defRPr/>
            </a:pPr>
            <a:r>
              <a:rPr lang="de-DE" b="1" kern="600" dirty="0">
                <a:solidFill>
                  <a:srgbClr val="000000"/>
                </a:solidFill>
              </a:rPr>
              <a:t>NEXT Teilflächenmanagement</a:t>
            </a:r>
          </a:p>
        </p:txBody>
      </p:sp>
      <p:pic>
        <p:nvPicPr>
          <p:cNvPr id="50" name="Grafik 49">
            <a:extLst>
              <a:ext uri="{FF2B5EF4-FFF2-40B4-BE49-F238E27FC236}">
                <a16:creationId xmlns:a16="http://schemas.microsoft.com/office/drawing/2014/main" id="{E658AE23-F85A-4EE9-A102-F36249DE9BE3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516" y="4743816"/>
            <a:ext cx="1290634" cy="1245541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61188FA3-46C3-FE53-426E-DC10598129D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038" y="5366587"/>
            <a:ext cx="990116" cy="990116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8646" y="5325127"/>
            <a:ext cx="779536" cy="90079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444041-4CF1-2200-5AFF-FC84AD9DC215}"/>
              </a:ext>
            </a:extLst>
          </p:cNvPr>
          <p:cNvSpPr txBox="1">
            <a:spLocks/>
          </p:cNvSpPr>
          <p:nvPr/>
        </p:nvSpPr>
        <p:spPr>
          <a:xfrm>
            <a:off x="727486" y="30632"/>
            <a:ext cx="5169112" cy="98488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358775" indent="-358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400" kern="6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&gt;"/>
              <a:defRPr sz="1400" kern="6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3603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50000"/>
              <a:buFontTx/>
              <a:buBlip>
                <a:blip r:embed="rId4"/>
              </a:buBlip>
              <a:defRPr sz="1400" kern="6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b="1" kern="600" cap="none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4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Aft>
                <a:spcPts val="0"/>
              </a:spcAft>
              <a:buClr>
                <a:schemeClr val="tx1"/>
              </a:buClr>
              <a:buNone/>
            </a:pPr>
            <a:r>
              <a:rPr lang="de-DE" sz="1600" dirty="0"/>
              <a:t>Die Basisfunktionen:</a:t>
            </a:r>
          </a:p>
          <a:p>
            <a:pPr marL="0" lvl="2" indent="0">
              <a:spcAft>
                <a:spcPts val="0"/>
              </a:spcAft>
              <a:buClr>
                <a:schemeClr val="tx1"/>
              </a:buClr>
              <a:buNone/>
            </a:pPr>
            <a:r>
              <a:rPr lang="de-DE" sz="1600" dirty="0"/>
              <a:t>Betriebsorganisation </a:t>
            </a:r>
            <a:r>
              <a:rPr lang="de-DE" sz="1200" dirty="0"/>
              <a:t>(Unternehmen, Mandanten, Kunden, Adressen)</a:t>
            </a:r>
            <a:endParaRPr lang="de-DE" sz="1600" dirty="0"/>
          </a:p>
          <a:p>
            <a:pPr marL="0" lvl="2" indent="0">
              <a:spcAft>
                <a:spcPts val="0"/>
              </a:spcAft>
              <a:buClr>
                <a:schemeClr val="tx1"/>
              </a:buClr>
              <a:buNone/>
            </a:pPr>
            <a:r>
              <a:rPr lang="de-DE" sz="1600" dirty="0"/>
              <a:t>Nutzer- und Rechteverwaltung, Sprachen</a:t>
            </a:r>
          </a:p>
          <a:p>
            <a:pPr marL="0" lvl="2" indent="0">
              <a:spcAft>
                <a:spcPts val="0"/>
              </a:spcAft>
              <a:buClr>
                <a:schemeClr val="tx1"/>
              </a:buClr>
              <a:buNone/>
            </a:pPr>
            <a:r>
              <a:rPr lang="de-DE" sz="1600" dirty="0"/>
              <a:t>Im- und Exporte</a:t>
            </a:r>
          </a:p>
        </p:txBody>
      </p:sp>
    </p:spTree>
    <p:extLst>
      <p:ext uri="{BB962C8B-B14F-4D97-AF65-F5344CB8AC3E}">
        <p14:creationId xmlns:p14="http://schemas.microsoft.com/office/powerpoint/2010/main" val="5841144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66406E-0724-4107-AA7B-FEA4164C17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566406E-0724-4107-AA7B-FEA4164C1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089FC0B2-A17E-5007-F152-E7A544EF51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NEXT Farming Pro Datenmodell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5C183D8-A03F-E980-2A7E-287850A138F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76" y="1089549"/>
            <a:ext cx="12188824" cy="5677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0160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66406E-0724-4107-AA7B-FEA4164C17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566406E-0724-4107-AA7B-FEA4164C1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8EC2330D-9847-D173-D86A-214C6015A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undengruppen die wir auf Pro Umstellen werden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3E74C3FB-338E-0B65-BC49-9073BF155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9182342"/>
              </p:ext>
            </p:extLst>
          </p:nvPr>
        </p:nvGraphicFramePr>
        <p:xfrm>
          <a:off x="766763" y="1378140"/>
          <a:ext cx="10658475" cy="2560320"/>
        </p:xfrm>
        <a:graphic>
          <a:graphicData uri="http://schemas.openxmlformats.org/drawingml/2006/table">
            <a:tbl>
              <a:tblPr>
                <a:tableStyleId>{306799F8-075E-4A3A-A7F6-7FBC6576F1A4}</a:tableStyleId>
              </a:tblPr>
              <a:tblGrid>
                <a:gridCol w="4624193">
                  <a:extLst>
                    <a:ext uri="{9D8B030D-6E8A-4147-A177-3AD203B41FA5}">
                      <a16:colId xmlns:a16="http://schemas.microsoft.com/office/drawing/2014/main" val="2967701219"/>
                    </a:ext>
                  </a:extLst>
                </a:gridCol>
                <a:gridCol w="1586352">
                  <a:extLst>
                    <a:ext uri="{9D8B030D-6E8A-4147-A177-3AD203B41FA5}">
                      <a16:colId xmlns:a16="http://schemas.microsoft.com/office/drawing/2014/main" val="2120384697"/>
                    </a:ext>
                  </a:extLst>
                </a:gridCol>
                <a:gridCol w="1317763">
                  <a:extLst>
                    <a:ext uri="{9D8B030D-6E8A-4147-A177-3AD203B41FA5}">
                      <a16:colId xmlns:a16="http://schemas.microsoft.com/office/drawing/2014/main" val="827029689"/>
                    </a:ext>
                  </a:extLst>
                </a:gridCol>
                <a:gridCol w="1393304">
                  <a:extLst>
                    <a:ext uri="{9D8B030D-6E8A-4147-A177-3AD203B41FA5}">
                      <a16:colId xmlns:a16="http://schemas.microsoft.com/office/drawing/2014/main" val="263333873"/>
                    </a:ext>
                  </a:extLst>
                </a:gridCol>
                <a:gridCol w="1736863">
                  <a:extLst>
                    <a:ext uri="{9D8B030D-6E8A-4147-A177-3AD203B41FA5}">
                      <a16:colId xmlns:a16="http://schemas.microsoft.com/office/drawing/2014/main" val="173393916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Gesamt</a:t>
                      </a:r>
                    </a:p>
                  </a:txBody>
                  <a:tcPr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bis 5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über 5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Internationa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4761567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dirty="0"/>
                        <a:t>NF Pro Kunden</a:t>
                      </a:r>
                    </a:p>
                  </a:txBody>
                  <a:tcPr anchor="ctr">
                    <a:solidFill>
                      <a:srgbClr val="369A4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500 </a:t>
                      </a:r>
                    </a:p>
                  </a:txBody>
                  <a:tcPr anchor="ctr">
                    <a:solidFill>
                      <a:srgbClr val="369A4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03 </a:t>
                      </a:r>
                    </a:p>
                  </a:txBody>
                  <a:tcPr anchor="ctr">
                    <a:solidFill>
                      <a:srgbClr val="369A4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83 </a:t>
                      </a:r>
                    </a:p>
                  </a:txBody>
                  <a:tcPr anchor="ctr">
                    <a:solidFill>
                      <a:srgbClr val="369A4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4</a:t>
                      </a:r>
                    </a:p>
                  </a:txBody>
                  <a:tcPr anchor="ctr">
                    <a:solidFill>
                      <a:srgbClr val="369A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366928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dirty="0"/>
                        <a:t>NF AG Kund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3.008 </a:t>
                      </a:r>
                    </a:p>
                  </a:txBody>
                  <a:tcPr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.504 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.216 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539848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/>
                        <a:t>NF LW Kund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2.454 </a:t>
                      </a:r>
                    </a:p>
                  </a:txBody>
                  <a:tcPr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.398 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/>
                        <a:t>39 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314822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/>
                        <a:t>NF Live Kund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1.632 </a:t>
                      </a:r>
                    </a:p>
                  </a:txBody>
                  <a:tcPr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/>
                        <a:t>1.470 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4 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4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2449431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/>
                        <a:t>NF Kunden ohne SV und Live Accou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22.340 </a:t>
                      </a:r>
                    </a:p>
                  </a:txBody>
                  <a:tcPr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/>
                        <a:t>17.351 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60 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.42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4645636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dirty="0"/>
                        <a:t>Wettbewerbskund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619 </a:t>
                      </a:r>
                    </a:p>
                  </a:txBody>
                  <a:tcPr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92 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23 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 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74062"/>
                  </a:ext>
                </a:extLst>
              </a:tr>
            </a:tbl>
          </a:graphicData>
        </a:graphic>
      </p:graphicFrame>
      <p:sp>
        <p:nvSpPr>
          <p:cNvPr id="9" name="Rectangle 1">
            <a:extLst>
              <a:ext uri="{FF2B5EF4-FFF2-40B4-BE49-F238E27FC236}">
                <a16:creationId xmlns:a16="http://schemas.microsoft.com/office/drawing/2014/main" id="{6376F480-82BD-FC9A-DC47-1D6A25C419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6763" y="3843448"/>
            <a:ext cx="1065847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6441984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66406E-0724-4107-AA7B-FEA4164C17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566406E-0724-4107-AA7B-FEA4164C1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8EC2330D-9847-D173-D86A-214C6015A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itere Kundengruppen die wir auf Pro umstellen werden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1DE91AD5-EF29-BCE2-2C1C-B7636D2EFA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63" y="1132049"/>
            <a:ext cx="2823725" cy="2419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E3CF344-538C-04C1-CDF0-D54FE402E1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3377" y="1132049"/>
            <a:ext cx="4301860" cy="2419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2566D3B-66EC-A9E7-B480-9A4EDD662C9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9429" y="3218856"/>
            <a:ext cx="4579608" cy="3620848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9ACB436-35BC-73DD-0801-32C5CA4BDA1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45863" y="3429000"/>
            <a:ext cx="2658067" cy="324238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1349842-CCB2-BDA0-243C-44844B8BE77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24323" y="4416728"/>
            <a:ext cx="2092546" cy="2430232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2BE55FEB-CB33-F328-56D4-54FAD719F187}"/>
              </a:ext>
            </a:extLst>
          </p:cNvPr>
          <p:cNvSpPr txBox="1"/>
          <p:nvPr/>
        </p:nvSpPr>
        <p:spPr>
          <a:xfrm>
            <a:off x="825487" y="4072390"/>
            <a:ext cx="2412666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  <a:buClr>
                <a:srgbClr val="44A02C"/>
              </a:buClr>
              <a:tabLst>
                <a:tab pos="358775" algn="l"/>
                <a:tab pos="359410" algn="l"/>
              </a:tabLst>
            </a:pPr>
            <a:r>
              <a:rPr lang="en-US" sz="1400" dirty="0">
                <a:cs typeface="Arial"/>
              </a:rPr>
              <a:t>In den </a:t>
            </a:r>
            <a:r>
              <a:rPr lang="en-US" sz="1400" dirty="0" err="1">
                <a:cs typeface="Arial"/>
              </a:rPr>
              <a:t>letzten</a:t>
            </a:r>
            <a:r>
              <a:rPr lang="en-US" sz="1400" dirty="0">
                <a:cs typeface="Arial"/>
              </a:rPr>
              <a:t> 10 Jahren </a:t>
            </a:r>
            <a:r>
              <a:rPr lang="en-US" sz="1400" dirty="0" err="1">
                <a:cs typeface="Arial"/>
              </a:rPr>
              <a:t>haben</a:t>
            </a:r>
            <a:r>
              <a:rPr lang="en-US" sz="1400" dirty="0">
                <a:cs typeface="Arial"/>
              </a:rPr>
              <a:t> </a:t>
            </a:r>
            <a:r>
              <a:rPr lang="en-US" sz="1400" dirty="0" err="1">
                <a:cs typeface="Arial"/>
              </a:rPr>
              <a:t>wir</a:t>
            </a:r>
            <a:r>
              <a:rPr lang="en-US" sz="1400" dirty="0">
                <a:cs typeface="Arial"/>
              </a:rPr>
              <a:t> 762.000 </a:t>
            </a:r>
            <a:r>
              <a:rPr lang="en-US" sz="1400" dirty="0" err="1">
                <a:cs typeface="Arial"/>
              </a:rPr>
              <a:t>Bodenproben</a:t>
            </a:r>
            <a:r>
              <a:rPr lang="en-US" sz="1400" dirty="0">
                <a:cs typeface="Arial"/>
              </a:rPr>
              <a:t> auf </a:t>
            </a:r>
            <a:r>
              <a:rPr lang="en-US" sz="1400" dirty="0" err="1">
                <a:cs typeface="Arial"/>
              </a:rPr>
              <a:t>etwa</a:t>
            </a:r>
            <a:r>
              <a:rPr lang="en-US" sz="1400" dirty="0">
                <a:cs typeface="Arial"/>
              </a:rPr>
              <a:t> 3.051.000 ha </a:t>
            </a:r>
            <a:r>
              <a:rPr lang="en-US" sz="1400" dirty="0" err="1">
                <a:cs typeface="Arial"/>
              </a:rPr>
              <a:t>bei</a:t>
            </a:r>
            <a:r>
              <a:rPr lang="en-US" sz="1400" dirty="0">
                <a:cs typeface="Arial"/>
              </a:rPr>
              <a:t> 4.340 </a:t>
            </a:r>
            <a:r>
              <a:rPr lang="en-US" sz="1400" dirty="0" err="1">
                <a:cs typeface="Arial"/>
              </a:rPr>
              <a:t>Betrieben</a:t>
            </a:r>
            <a:r>
              <a:rPr lang="en-US" sz="1400" dirty="0">
                <a:cs typeface="Arial"/>
              </a:rPr>
              <a:t> </a:t>
            </a:r>
            <a:r>
              <a:rPr lang="en-US" sz="1400" dirty="0" err="1">
                <a:cs typeface="Arial"/>
              </a:rPr>
              <a:t>gezogen</a:t>
            </a:r>
            <a:r>
              <a:rPr lang="en-US" sz="1400" dirty="0">
                <a:cs typeface="Arial"/>
              </a:rPr>
              <a:t>.</a:t>
            </a:r>
          </a:p>
          <a:p>
            <a:pPr algn="ctr">
              <a:lnSpc>
                <a:spcPct val="100000"/>
              </a:lnSpc>
              <a:buClr>
                <a:srgbClr val="44A02C"/>
              </a:buClr>
              <a:tabLst>
                <a:tab pos="358775" algn="l"/>
                <a:tab pos="359410" algn="l"/>
              </a:tabLst>
            </a:pPr>
            <a:endParaRPr lang="en-US" sz="1400" dirty="0">
              <a:cs typeface="Arial"/>
            </a:endParaRPr>
          </a:p>
          <a:p>
            <a:pPr algn="ctr">
              <a:lnSpc>
                <a:spcPct val="100000"/>
              </a:lnSpc>
              <a:buClr>
                <a:srgbClr val="44A02C"/>
              </a:buClr>
              <a:tabLst>
                <a:tab pos="358775" algn="l"/>
                <a:tab pos="359410" algn="l"/>
              </a:tabLst>
            </a:pPr>
            <a:r>
              <a:rPr lang="en-US" sz="1400" dirty="0" err="1">
                <a:cs typeface="Arial"/>
              </a:rPr>
              <a:t>Unsere</a:t>
            </a:r>
            <a:r>
              <a:rPr lang="en-US" sz="1400" dirty="0">
                <a:cs typeface="Arial"/>
              </a:rPr>
              <a:t> Partner </a:t>
            </a:r>
            <a:r>
              <a:rPr lang="en-US" sz="1400" dirty="0" err="1">
                <a:cs typeface="Arial"/>
              </a:rPr>
              <a:t>haben</a:t>
            </a:r>
            <a:r>
              <a:rPr lang="en-US" sz="1400" dirty="0">
                <a:cs typeface="Arial"/>
              </a:rPr>
              <a:t> 235.000 </a:t>
            </a:r>
            <a:r>
              <a:rPr lang="en-US" sz="1400" dirty="0" err="1">
                <a:cs typeface="Arial"/>
              </a:rPr>
              <a:t>Proben</a:t>
            </a:r>
            <a:r>
              <a:rPr lang="en-US" sz="1400" dirty="0">
                <a:cs typeface="Arial"/>
              </a:rPr>
              <a:t>  </a:t>
            </a:r>
            <a:r>
              <a:rPr lang="en-US" sz="1400" dirty="0" err="1">
                <a:cs typeface="Arial"/>
              </a:rPr>
              <a:t>bei</a:t>
            </a:r>
            <a:r>
              <a:rPr lang="en-US" sz="1400" dirty="0">
                <a:cs typeface="Arial"/>
              </a:rPr>
              <a:t> 1.175.000 ha und 1.049 </a:t>
            </a:r>
            <a:r>
              <a:rPr lang="en-US" sz="1400" dirty="0" err="1">
                <a:cs typeface="Arial"/>
              </a:rPr>
              <a:t>Betrieben</a:t>
            </a:r>
            <a:r>
              <a:rPr lang="en-US" sz="1400" dirty="0">
                <a:cs typeface="Arial"/>
              </a:rPr>
              <a:t> </a:t>
            </a:r>
            <a:r>
              <a:rPr lang="en-US" sz="1400" dirty="0" err="1">
                <a:cs typeface="Arial"/>
              </a:rPr>
              <a:t>gezogen</a:t>
            </a:r>
            <a:r>
              <a:rPr lang="en-US" sz="1400" dirty="0">
                <a:cs typeface="Arial"/>
              </a:rPr>
              <a:t>.</a:t>
            </a:r>
            <a:endParaRPr lang="de-DE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7A37C91-7F1F-5FE6-D6D7-F619EB38DC71}"/>
              </a:ext>
            </a:extLst>
          </p:cNvPr>
          <p:cNvSpPr txBox="1"/>
          <p:nvPr/>
        </p:nvSpPr>
        <p:spPr>
          <a:xfrm>
            <a:off x="3574925" y="1146955"/>
            <a:ext cx="3548452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buClr>
                <a:srgbClr val="44A02C"/>
              </a:buClr>
              <a:tabLst>
                <a:tab pos="358775" algn="l"/>
                <a:tab pos="359410" algn="l"/>
              </a:tabLst>
            </a:pPr>
            <a:r>
              <a:rPr lang="en-US" sz="1400" dirty="0">
                <a:cs typeface="Arial"/>
              </a:rPr>
              <a:t>Ca. 1.000 FarmFacts </a:t>
            </a:r>
            <a:r>
              <a:rPr lang="en-US" sz="1400" dirty="0" err="1">
                <a:cs typeface="Arial"/>
              </a:rPr>
              <a:t>Wetterstationen</a:t>
            </a:r>
            <a:r>
              <a:rPr lang="en-US" sz="1400" dirty="0">
                <a:cs typeface="Arial"/>
              </a:rPr>
              <a:t> </a:t>
            </a:r>
            <a:r>
              <a:rPr lang="en-US" sz="1400" dirty="0" err="1">
                <a:cs typeface="Arial"/>
              </a:rPr>
              <a:t>bei</a:t>
            </a:r>
            <a:r>
              <a:rPr lang="en-US" sz="1400" dirty="0">
                <a:cs typeface="Arial"/>
              </a:rPr>
              <a:t> ca. 700 </a:t>
            </a:r>
            <a:r>
              <a:rPr lang="en-US" sz="1400" dirty="0" err="1">
                <a:cs typeface="Arial"/>
              </a:rPr>
              <a:t>Betrieben</a:t>
            </a:r>
            <a:r>
              <a:rPr lang="en-US" sz="1400" dirty="0">
                <a:cs typeface="Arial"/>
              </a:rPr>
              <a:t>. Ca. 4.500 </a:t>
            </a:r>
            <a:r>
              <a:rPr lang="en-US" sz="1400" dirty="0" err="1">
                <a:cs typeface="Arial"/>
              </a:rPr>
              <a:t>Raindancer</a:t>
            </a:r>
            <a:r>
              <a:rPr lang="en-US" sz="1400" dirty="0">
                <a:cs typeface="Arial"/>
              </a:rPr>
              <a:t> </a:t>
            </a:r>
            <a:r>
              <a:rPr lang="en-US" sz="1400" dirty="0" err="1">
                <a:cs typeface="Arial"/>
              </a:rPr>
              <a:t>bei</a:t>
            </a:r>
            <a:r>
              <a:rPr lang="en-US" sz="1400" dirty="0">
                <a:cs typeface="Arial"/>
              </a:rPr>
              <a:t> ca. 1.500 </a:t>
            </a:r>
            <a:r>
              <a:rPr lang="en-US" sz="1400" dirty="0" err="1">
                <a:cs typeface="Arial"/>
              </a:rPr>
              <a:t>Betrieben</a:t>
            </a:r>
            <a:endParaRPr lang="en-US" sz="1400" dirty="0">
              <a:cs typeface="Arial"/>
            </a:endParaRPr>
          </a:p>
          <a:p>
            <a:pPr>
              <a:lnSpc>
                <a:spcPct val="100000"/>
              </a:lnSpc>
              <a:buClr>
                <a:srgbClr val="44A02C"/>
              </a:buClr>
              <a:tabLst>
                <a:tab pos="358775" algn="l"/>
                <a:tab pos="359410" algn="l"/>
              </a:tabLst>
            </a:pPr>
            <a:endParaRPr lang="en-US" sz="1400" dirty="0">
              <a:cs typeface="Arial"/>
            </a:endParaRPr>
          </a:p>
          <a:p>
            <a:pPr>
              <a:lnSpc>
                <a:spcPct val="100000"/>
              </a:lnSpc>
              <a:buClr>
                <a:srgbClr val="44A02C"/>
              </a:buClr>
              <a:tabLst>
                <a:tab pos="358775" algn="l"/>
                <a:tab pos="359410" algn="l"/>
              </a:tabLst>
            </a:pPr>
            <a:endParaRPr lang="en-US" sz="1400" dirty="0">
              <a:cs typeface="Arial"/>
            </a:endParaRPr>
          </a:p>
          <a:p>
            <a:pPr algn="r">
              <a:lnSpc>
                <a:spcPct val="100000"/>
              </a:lnSpc>
              <a:buClr>
                <a:srgbClr val="44A02C"/>
              </a:buClr>
              <a:tabLst>
                <a:tab pos="358775" algn="l"/>
                <a:tab pos="359410" algn="l"/>
              </a:tabLst>
            </a:pPr>
            <a:r>
              <a:rPr lang="en-US" sz="1400" dirty="0">
                <a:cs typeface="Arial"/>
              </a:rPr>
              <a:t>15.000 </a:t>
            </a:r>
            <a:r>
              <a:rPr lang="en-US" sz="1400" dirty="0" err="1">
                <a:cs typeface="Arial"/>
              </a:rPr>
              <a:t>Stationen</a:t>
            </a:r>
            <a:r>
              <a:rPr lang="en-US" sz="1400" dirty="0">
                <a:cs typeface="Arial"/>
              </a:rPr>
              <a:t> des </a:t>
            </a:r>
          </a:p>
          <a:p>
            <a:pPr algn="r">
              <a:lnSpc>
                <a:spcPct val="100000"/>
              </a:lnSpc>
              <a:buClr>
                <a:srgbClr val="44A02C"/>
              </a:buClr>
              <a:tabLst>
                <a:tab pos="358775" algn="l"/>
                <a:tab pos="359410" algn="l"/>
              </a:tabLst>
            </a:pPr>
            <a:r>
              <a:rPr lang="en-US" sz="1400" dirty="0" err="1">
                <a:cs typeface="Arial"/>
              </a:rPr>
              <a:t>Pessl</a:t>
            </a:r>
            <a:r>
              <a:rPr lang="en-US" sz="1400" dirty="0">
                <a:cs typeface="Arial"/>
              </a:rPr>
              <a:t> </a:t>
            </a:r>
            <a:r>
              <a:rPr lang="en-US" sz="1400" dirty="0" err="1">
                <a:cs typeface="Arial"/>
              </a:rPr>
              <a:t>Metos</a:t>
            </a:r>
            <a:r>
              <a:rPr lang="en-US" sz="1400" dirty="0">
                <a:cs typeface="Arial"/>
              </a:rPr>
              <a:t> </a:t>
            </a:r>
            <a:r>
              <a:rPr lang="en-US" sz="1400" dirty="0" err="1">
                <a:cs typeface="Arial"/>
              </a:rPr>
              <a:t>Netzwerks</a:t>
            </a:r>
            <a:endParaRPr lang="en-US" sz="14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37528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 descr="Ein Bild, das Person, Himmel, Mann, draußen enthält.&#10;&#10;Automatisch generierte Beschreibung">
            <a:extLst>
              <a:ext uri="{FF2B5EF4-FFF2-40B4-BE49-F238E27FC236}">
                <a16:creationId xmlns:a16="http://schemas.microsoft.com/office/drawing/2014/main" id="{882CF9D8-CCE8-41BD-3169-A3D497E557C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2"/>
          <a:srcRect l="24" r="24"/>
          <a:stretch>
            <a:fillRect/>
          </a:stretch>
        </p:blipFill>
        <p:spPr/>
      </p:pic>
      <p:sp>
        <p:nvSpPr>
          <p:cNvPr id="7" name="Freihandform 8">
            <a:extLst>
              <a:ext uri="{FF2B5EF4-FFF2-40B4-BE49-F238E27FC236}">
                <a16:creationId xmlns:a16="http://schemas.microsoft.com/office/drawing/2014/main" id="{E68D08DA-360A-0BD3-7E44-142E3EBB3819}"/>
              </a:ext>
            </a:extLst>
          </p:cNvPr>
          <p:cNvSpPr/>
          <p:nvPr/>
        </p:nvSpPr>
        <p:spPr>
          <a:xfrm>
            <a:off x="0" y="-9913"/>
            <a:ext cx="12192000" cy="6858000"/>
          </a:xfrm>
          <a:custGeom>
            <a:avLst/>
            <a:gdLst>
              <a:gd name="connsiteX0" fmla="*/ 10742301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223370 h 6858000"/>
              <a:gd name="connsiteX3" fmla="*/ 5621103 w 12192000"/>
              <a:gd name="connsiteY3" fmla="*/ 6858000 h 6858000"/>
              <a:gd name="connsiteX4" fmla="*/ 0 w 12192000"/>
              <a:gd name="connsiteY4" fmla="*/ 6858000 h 6858000"/>
              <a:gd name="connsiteX5" fmla="*/ 0 w 12192000"/>
              <a:gd name="connsiteY5" fmla="*/ 1081483 h 6858000"/>
              <a:gd name="connsiteX6" fmla="*/ 1 w 12192000"/>
              <a:gd name="connsiteY6" fmla="*/ 1081483 h 6858000"/>
              <a:gd name="connsiteX7" fmla="*/ 1 w 12192000"/>
              <a:gd name="connsiteY7" fmla="*/ 1081485 h 6858000"/>
              <a:gd name="connsiteX8" fmla="*/ 354 w 12192000"/>
              <a:gd name="connsiteY8" fmla="*/ 108144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10742301" y="0"/>
                </a:moveTo>
                <a:lnTo>
                  <a:pt x="12192000" y="0"/>
                </a:lnTo>
                <a:lnTo>
                  <a:pt x="12192000" y="6223370"/>
                </a:lnTo>
                <a:lnTo>
                  <a:pt x="5621103" y="6858000"/>
                </a:lnTo>
                <a:lnTo>
                  <a:pt x="0" y="6858000"/>
                </a:lnTo>
                <a:lnTo>
                  <a:pt x="0" y="1081483"/>
                </a:lnTo>
                <a:lnTo>
                  <a:pt x="1" y="1081483"/>
                </a:lnTo>
                <a:lnTo>
                  <a:pt x="1" y="1081485"/>
                </a:lnTo>
                <a:lnTo>
                  <a:pt x="354" y="1081447"/>
                </a:lnTo>
                <a:close/>
              </a:path>
            </a:pathLst>
          </a:custGeom>
          <a:solidFill>
            <a:schemeClr val="tx1">
              <a:alpha val="7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7D6B825-2F8B-D7E6-B754-8091873AAEF1}"/>
              </a:ext>
            </a:extLst>
          </p:cNvPr>
          <p:cNvSpPr txBox="1"/>
          <p:nvPr/>
        </p:nvSpPr>
        <p:spPr>
          <a:xfrm>
            <a:off x="860538" y="297397"/>
            <a:ext cx="4981461" cy="2769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2F2F2"/>
              </a:buClr>
              <a:buSzTx/>
              <a:buFontTx/>
              <a:buNone/>
              <a:tabLst/>
              <a:defRPr/>
            </a:pPr>
            <a:r>
              <a:rPr kumimoji="0" lang="de-DE" sz="1800" b="1" i="0" u="none" strike="noStrike" kern="6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Zusammenfassung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05154B4-654E-0E5F-2FDA-8CB6BC2F1D91}"/>
              </a:ext>
            </a:extLst>
          </p:cNvPr>
          <p:cNvSpPr txBox="1">
            <a:spLocks/>
          </p:cNvSpPr>
          <p:nvPr/>
        </p:nvSpPr>
        <p:spPr>
          <a:xfrm>
            <a:off x="75393" y="121779"/>
            <a:ext cx="610523" cy="808959"/>
          </a:xfrm>
          <a:custGeom>
            <a:avLst/>
            <a:gdLst>
              <a:gd name="connsiteX0" fmla="*/ 3708569 w 3708569"/>
              <a:gd name="connsiteY0" fmla="*/ 0 h 4913955"/>
              <a:gd name="connsiteX1" fmla="*/ 3708569 w 3708569"/>
              <a:gd name="connsiteY1" fmla="*/ 4616534 h 4913955"/>
              <a:gd name="connsiteX2" fmla="*/ 0 w 3708569"/>
              <a:gd name="connsiteY2" fmla="*/ 4913955 h 4913955"/>
              <a:gd name="connsiteX3" fmla="*/ 0 w 3708569"/>
              <a:gd name="connsiteY3" fmla="*/ 350801 h 4913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8569" h="4913955">
                <a:moveTo>
                  <a:pt x="3708569" y="0"/>
                </a:moveTo>
                <a:lnTo>
                  <a:pt x="3708569" y="4616534"/>
                </a:lnTo>
                <a:lnTo>
                  <a:pt x="0" y="4913955"/>
                </a:lnTo>
                <a:lnTo>
                  <a:pt x="0" y="3508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360000" tIns="360000" rIns="360000" bIns="360000">
            <a:noAutofit/>
          </a:bodyPr>
          <a:lstStyle>
            <a:lvl1pPr marL="358775" indent="-358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Font typeface="Arial" panose="020B0604020202020204" pitchFamily="34" charset="0"/>
              <a:buChar char="&gt;"/>
              <a:defRPr sz="1400" kern="6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5963" indent="-3571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Font typeface="Arial" panose="020B0604020202020204" pitchFamily="34" charset="0"/>
              <a:buChar char="&gt;"/>
              <a:defRPr sz="1400" kern="6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363" indent="-3603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SzPct val="150000"/>
              <a:buFontTx/>
              <a:buBlip>
                <a:blip r:embed="rId23"/>
              </a:buBlip>
              <a:defRPr sz="1400" kern="6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b="1" kern="600" cap="none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400" b="0" i="0" u="none" strike="noStrike" kern="6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23155633-B168-6301-B13B-D32470CA7365}"/>
              </a:ext>
            </a:extLst>
          </p:cNvPr>
          <p:cNvGrpSpPr/>
          <p:nvPr/>
        </p:nvGrpSpPr>
        <p:grpSpPr>
          <a:xfrm>
            <a:off x="100793" y="104068"/>
            <a:ext cx="661990" cy="742371"/>
            <a:chOff x="1" y="339114"/>
            <a:chExt cx="661990" cy="742371"/>
          </a:xfrm>
        </p:grpSpPr>
        <p:sp>
          <p:nvSpPr>
            <p:cNvPr id="12" name="Freeform 40">
              <a:extLst>
                <a:ext uri="{FF2B5EF4-FFF2-40B4-BE49-F238E27FC236}">
                  <a16:creationId xmlns:a16="http://schemas.microsoft.com/office/drawing/2014/main" id="{0DFE19BE-0A40-13FB-F903-CC51B9A48D5E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rgbClr val="000000"/>
            </a:solidFill>
            <a:ln w="19050" cap="flat" cmpd="sng" algn="ctr">
              <a:noFill/>
              <a:prstDash val="dash"/>
              <a:miter lim="800000"/>
              <a:tailEnd type="triangle" w="lg" len="med"/>
            </a:ln>
            <a:effectLst/>
          </p:spPr>
          <p:txBody>
            <a:bodyPr wrap="square" lIns="144000" tIns="108000" rIns="144000" bIns="14400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1150"/>
                </a:spcBef>
                <a:spcAft>
                  <a:spcPts val="0"/>
                </a:spcAft>
                <a:buClr>
                  <a:srgbClr val="116656"/>
                </a:buClr>
                <a:buSzPct val="120000"/>
                <a:buFontTx/>
                <a:buNone/>
                <a:tabLst/>
                <a:defRPr/>
              </a:pPr>
              <a:endPara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41">
              <a:extLst>
                <a:ext uri="{FF2B5EF4-FFF2-40B4-BE49-F238E27FC236}">
                  <a16:creationId xmlns:a16="http://schemas.microsoft.com/office/drawing/2014/main" id="{BDEAE33B-2911-2E6C-EDE3-5AAE64ED3850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144000" tIns="108000" rIns="144000" bIns="14400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1150"/>
                </a:spcBef>
                <a:spcAft>
                  <a:spcPts val="0"/>
                </a:spcAft>
                <a:buClr>
                  <a:srgbClr val="116656"/>
                </a:buClr>
                <a:buSzPct val="120000"/>
                <a:buFontTx/>
                <a:buNone/>
                <a:tabLst/>
                <a:defRPr/>
              </a:pPr>
              <a:endParaRPr kumimoji="0" lang="de-DE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4" name="Abgerundetes Rechteck 18">
            <a:extLst>
              <a:ext uri="{FF2B5EF4-FFF2-40B4-BE49-F238E27FC236}">
                <a16:creationId xmlns:a16="http://schemas.microsoft.com/office/drawing/2014/main" id="{73A07C28-9837-1505-EACA-5E7E256160CA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1518432" y="1302542"/>
            <a:ext cx="3535414" cy="5258059"/>
          </a:xfrm>
          <a:prstGeom prst="roundRect">
            <a:avLst>
              <a:gd name="adj" fmla="val 3088"/>
            </a:avLst>
          </a:prstGeom>
          <a:gradFill>
            <a:gsLst>
              <a:gs pos="100000">
                <a:srgbClr val="F2F2F2">
                  <a:lumMod val="75000"/>
                </a:srgbClr>
              </a:gs>
              <a:gs pos="0">
                <a:srgbClr val="000000">
                  <a:lumMod val="50000"/>
                  <a:lumOff val="50000"/>
                </a:srgbClr>
              </a:gs>
            </a:gsLst>
            <a:lin ang="16200000" scaled="1"/>
          </a:gradFill>
          <a:ln w="57150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72000" bIns="72000" rtlCol="0" anchor="t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6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feld 19">
            <a:extLst>
              <a:ext uri="{FF2B5EF4-FFF2-40B4-BE49-F238E27FC236}">
                <a16:creationId xmlns:a16="http://schemas.microsoft.com/office/drawing/2014/main" id="{BBD20C24-D403-0A3E-E5E5-E18BFB4CECF4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1646854" y="1493678"/>
            <a:ext cx="3264253" cy="4710412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wrap="square" lIns="216000" tIns="468000" rIns="21600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A9CB61"/>
              </a:solidFill>
              <a:effectLst/>
              <a:uLnTx/>
              <a:uFillTx/>
            </a:endParaRP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461331D6-4832-A00D-EBCC-2B8E02B807C2}"/>
              </a:ext>
            </a:extLst>
          </p:cNvPr>
          <p:cNvGrpSpPr/>
          <p:nvPr/>
        </p:nvGrpSpPr>
        <p:grpSpPr>
          <a:xfrm>
            <a:off x="2298437" y="990905"/>
            <a:ext cx="2044718" cy="583500"/>
            <a:chOff x="2256619" y="1408077"/>
            <a:chExt cx="2044718" cy="583500"/>
          </a:xfrm>
        </p:grpSpPr>
        <p:sp>
          <p:nvSpPr>
            <p:cNvPr id="17" name="Ellipse 26">
              <a:extLst>
                <a:ext uri="{FF2B5EF4-FFF2-40B4-BE49-F238E27FC236}">
                  <a16:creationId xmlns:a16="http://schemas.microsoft.com/office/drawing/2014/main" id="{87A975DF-06AC-02B7-4FEB-C18EBF03C2D5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2987227" y="1408077"/>
              <a:ext cx="583500" cy="583500"/>
            </a:xfrm>
            <a:prstGeom prst="ellipse">
              <a:avLst/>
            </a:prstGeom>
            <a:solidFill>
              <a:srgbClr val="000000"/>
            </a:solidFill>
            <a:ln w="9525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Auf der gleichen Seite des Rechtecks liegende Ecken abrunden 20">
              <a:extLst>
                <a:ext uri="{FF2B5EF4-FFF2-40B4-BE49-F238E27FC236}">
                  <a16:creationId xmlns:a16="http://schemas.microsoft.com/office/drawing/2014/main" id="{04E1DB90-93F7-467D-B48A-246BCEA0A126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2256619" y="1677085"/>
              <a:ext cx="2044718" cy="233765"/>
            </a:xfrm>
            <a:prstGeom prst="roundRect">
              <a:avLst/>
            </a:prstGeom>
            <a:solidFill>
              <a:srgbClr val="000000"/>
            </a:solidFill>
            <a:ln>
              <a:noFill/>
            </a:ln>
          </p:spPr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9" name="Oval 40">
            <a:extLst>
              <a:ext uri="{FF2B5EF4-FFF2-40B4-BE49-F238E27FC236}">
                <a16:creationId xmlns:a16="http://schemas.microsoft.com/office/drawing/2014/main" id="{0D1C4609-EF9A-FE41-464C-F1B8463D8602}"/>
              </a:ext>
            </a:extLst>
          </p:cNvPr>
          <p:cNvSpPr/>
          <p:nvPr/>
        </p:nvSpPr>
        <p:spPr>
          <a:xfrm>
            <a:off x="1992795" y="1887503"/>
            <a:ext cx="629587" cy="629588"/>
          </a:xfrm>
          <a:prstGeom prst="ellipse">
            <a:avLst/>
          </a:prstGeom>
          <a:solidFill>
            <a:srgbClr val="44A12C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6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0" name="Group 41">
            <a:extLst>
              <a:ext uri="{FF2B5EF4-FFF2-40B4-BE49-F238E27FC236}">
                <a16:creationId xmlns:a16="http://schemas.microsoft.com/office/drawing/2014/main" id="{AA23DD37-3379-E311-2A83-3D9DE751AB72}"/>
              </a:ext>
            </a:extLst>
          </p:cNvPr>
          <p:cNvGrpSpPr/>
          <p:nvPr/>
        </p:nvGrpSpPr>
        <p:grpSpPr>
          <a:xfrm>
            <a:off x="2872307" y="2020917"/>
            <a:ext cx="1611089" cy="423485"/>
            <a:chOff x="10724304" y="3267856"/>
            <a:chExt cx="1145226" cy="349987"/>
          </a:xfrm>
          <a:solidFill>
            <a:srgbClr val="F2F2F2">
              <a:lumMod val="75000"/>
            </a:srgbClr>
          </a:solidFill>
        </p:grpSpPr>
        <p:sp>
          <p:nvSpPr>
            <p:cNvPr id="21" name="Textfeld 19">
              <a:extLst>
                <a:ext uri="{FF2B5EF4-FFF2-40B4-BE49-F238E27FC236}">
                  <a16:creationId xmlns:a16="http://schemas.microsoft.com/office/drawing/2014/main" id="{FD3CD31C-5E82-D465-C5B7-ACAC7D0F53CC}"/>
                </a:ext>
              </a:extLst>
            </p:cNvPr>
            <p:cNvSpPr txBox="1"/>
            <p:nvPr>
              <p:custDataLst>
                <p:tags r:id="rId16"/>
              </p:custDataLst>
            </p:nvPr>
          </p:nvSpPr>
          <p:spPr bwMode="gray">
            <a:xfrm>
              <a:off x="10724304" y="3267856"/>
              <a:ext cx="1145226" cy="80527"/>
            </a:xfrm>
            <a:prstGeom prst="rect">
              <a:avLst/>
            </a:prstGeom>
            <a:grpFill/>
            <a:ln w="9525">
              <a:noFill/>
            </a:ln>
          </p:spPr>
          <p:txBody>
            <a:bodyPr wrap="square" lIns="216000" tIns="468000" rIns="21600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A9CB61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Textfeld 19">
              <a:extLst>
                <a:ext uri="{FF2B5EF4-FFF2-40B4-BE49-F238E27FC236}">
                  <a16:creationId xmlns:a16="http://schemas.microsoft.com/office/drawing/2014/main" id="{53624BF8-ED15-CAA6-E1E8-C316D22FB44F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 bwMode="gray">
            <a:xfrm>
              <a:off x="10724304" y="3402586"/>
              <a:ext cx="1145226" cy="80527"/>
            </a:xfrm>
            <a:prstGeom prst="rect">
              <a:avLst/>
            </a:prstGeom>
            <a:grpFill/>
            <a:ln w="9525">
              <a:noFill/>
            </a:ln>
          </p:spPr>
          <p:txBody>
            <a:bodyPr wrap="square" lIns="216000" tIns="468000" rIns="21600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A9CB61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Textfeld 19">
              <a:extLst>
                <a:ext uri="{FF2B5EF4-FFF2-40B4-BE49-F238E27FC236}">
                  <a16:creationId xmlns:a16="http://schemas.microsoft.com/office/drawing/2014/main" id="{06058ABF-C900-7E74-7768-E9719B0DBDC8}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 bwMode="gray">
            <a:xfrm>
              <a:off x="10724304" y="3537316"/>
              <a:ext cx="711095" cy="80527"/>
            </a:xfrm>
            <a:prstGeom prst="rect">
              <a:avLst/>
            </a:prstGeom>
            <a:grpFill/>
            <a:ln w="9525">
              <a:noFill/>
            </a:ln>
          </p:spPr>
          <p:txBody>
            <a:bodyPr wrap="square" lIns="216000" tIns="468000" rIns="21600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A9CB61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4" name="Graphic 42" descr="Tick">
            <a:extLst>
              <a:ext uri="{FF2B5EF4-FFF2-40B4-BE49-F238E27FC236}">
                <a16:creationId xmlns:a16="http://schemas.microsoft.com/office/drawing/2014/main" id="{C6001390-2AF5-4567-5904-CE870E98643B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932506" y="1585429"/>
            <a:ext cx="914401" cy="914401"/>
          </a:xfrm>
          <a:prstGeom prst="rect">
            <a:avLst/>
          </a:prstGeom>
        </p:spPr>
      </p:pic>
      <p:sp>
        <p:nvSpPr>
          <p:cNvPr id="25" name="Oval 33">
            <a:extLst>
              <a:ext uri="{FF2B5EF4-FFF2-40B4-BE49-F238E27FC236}">
                <a16:creationId xmlns:a16="http://schemas.microsoft.com/office/drawing/2014/main" id="{2E91DEA2-A07A-A688-C52D-E927596E7309}"/>
              </a:ext>
            </a:extLst>
          </p:cNvPr>
          <p:cNvSpPr/>
          <p:nvPr/>
        </p:nvSpPr>
        <p:spPr>
          <a:xfrm>
            <a:off x="1992795" y="3053520"/>
            <a:ext cx="629587" cy="629588"/>
          </a:xfrm>
          <a:prstGeom prst="ellipse">
            <a:avLst/>
          </a:prstGeom>
          <a:solidFill>
            <a:srgbClr val="44A12C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6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" name="Group 34">
            <a:extLst>
              <a:ext uri="{FF2B5EF4-FFF2-40B4-BE49-F238E27FC236}">
                <a16:creationId xmlns:a16="http://schemas.microsoft.com/office/drawing/2014/main" id="{FE7A63C1-3864-490B-B38B-938BB02AB8F8}"/>
              </a:ext>
            </a:extLst>
          </p:cNvPr>
          <p:cNvGrpSpPr/>
          <p:nvPr/>
        </p:nvGrpSpPr>
        <p:grpSpPr>
          <a:xfrm>
            <a:off x="2872307" y="3186934"/>
            <a:ext cx="1611089" cy="423485"/>
            <a:chOff x="10724304" y="3267856"/>
            <a:chExt cx="1145226" cy="349987"/>
          </a:xfrm>
          <a:solidFill>
            <a:srgbClr val="F2F2F2">
              <a:lumMod val="75000"/>
            </a:srgbClr>
          </a:solidFill>
        </p:grpSpPr>
        <p:sp>
          <p:nvSpPr>
            <p:cNvPr id="27" name="Textfeld 19">
              <a:extLst>
                <a:ext uri="{FF2B5EF4-FFF2-40B4-BE49-F238E27FC236}">
                  <a16:creationId xmlns:a16="http://schemas.microsoft.com/office/drawing/2014/main" id="{5B875982-0FB8-A1F5-1B6B-0089EDB91766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 bwMode="gray">
            <a:xfrm>
              <a:off x="10724304" y="3267856"/>
              <a:ext cx="1145226" cy="80527"/>
            </a:xfrm>
            <a:prstGeom prst="rect">
              <a:avLst/>
            </a:prstGeom>
            <a:grpFill/>
            <a:ln w="9525">
              <a:noFill/>
            </a:ln>
          </p:spPr>
          <p:txBody>
            <a:bodyPr wrap="square" lIns="216000" tIns="468000" rIns="21600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A9CB61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Textfeld 19">
              <a:extLst>
                <a:ext uri="{FF2B5EF4-FFF2-40B4-BE49-F238E27FC236}">
                  <a16:creationId xmlns:a16="http://schemas.microsoft.com/office/drawing/2014/main" id="{9CC62729-C255-7B36-D08C-3187A60543D6}"/>
                </a:ext>
              </a:extLst>
            </p:cNvPr>
            <p:cNvSpPr txBox="1"/>
            <p:nvPr>
              <p:custDataLst>
                <p:tags r:id="rId14"/>
              </p:custDataLst>
            </p:nvPr>
          </p:nvSpPr>
          <p:spPr bwMode="gray">
            <a:xfrm>
              <a:off x="10724304" y="3402586"/>
              <a:ext cx="1145226" cy="80527"/>
            </a:xfrm>
            <a:prstGeom prst="rect">
              <a:avLst/>
            </a:prstGeom>
            <a:grpFill/>
            <a:ln w="9525">
              <a:noFill/>
            </a:ln>
          </p:spPr>
          <p:txBody>
            <a:bodyPr wrap="square" lIns="216000" tIns="468000" rIns="21600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A9CB61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Textfeld 19">
              <a:extLst>
                <a:ext uri="{FF2B5EF4-FFF2-40B4-BE49-F238E27FC236}">
                  <a16:creationId xmlns:a16="http://schemas.microsoft.com/office/drawing/2014/main" id="{079BF319-757D-BBDE-2E99-F4FE253CF6F0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 bwMode="gray">
            <a:xfrm>
              <a:off x="10724304" y="3537316"/>
              <a:ext cx="711095" cy="80527"/>
            </a:xfrm>
            <a:prstGeom prst="rect">
              <a:avLst/>
            </a:prstGeom>
            <a:grpFill/>
            <a:ln w="9525">
              <a:noFill/>
            </a:ln>
          </p:spPr>
          <p:txBody>
            <a:bodyPr wrap="square" lIns="216000" tIns="468000" rIns="21600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A9CB61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30" name="Graphic 35" descr="Tick">
            <a:extLst>
              <a:ext uri="{FF2B5EF4-FFF2-40B4-BE49-F238E27FC236}">
                <a16:creationId xmlns:a16="http://schemas.microsoft.com/office/drawing/2014/main" id="{63BA39A9-C504-A783-30F9-B2EC82FC841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932506" y="2751446"/>
            <a:ext cx="914401" cy="914401"/>
          </a:xfrm>
          <a:prstGeom prst="rect">
            <a:avLst/>
          </a:prstGeom>
        </p:spPr>
      </p:pic>
      <p:sp>
        <p:nvSpPr>
          <p:cNvPr id="31" name="Oval 27">
            <a:extLst>
              <a:ext uri="{FF2B5EF4-FFF2-40B4-BE49-F238E27FC236}">
                <a16:creationId xmlns:a16="http://schemas.microsoft.com/office/drawing/2014/main" id="{383C8BE0-DB4D-0BC9-331C-E0D4E08C5EBA}"/>
              </a:ext>
            </a:extLst>
          </p:cNvPr>
          <p:cNvSpPr/>
          <p:nvPr/>
        </p:nvSpPr>
        <p:spPr>
          <a:xfrm>
            <a:off x="1992795" y="4224258"/>
            <a:ext cx="629587" cy="629588"/>
          </a:xfrm>
          <a:prstGeom prst="ellipse">
            <a:avLst/>
          </a:prstGeom>
          <a:solidFill>
            <a:srgbClr val="44A12C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6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2" name="Group 28">
            <a:extLst>
              <a:ext uri="{FF2B5EF4-FFF2-40B4-BE49-F238E27FC236}">
                <a16:creationId xmlns:a16="http://schemas.microsoft.com/office/drawing/2014/main" id="{937967EB-61A4-2644-7ED8-F5D2371EDBC1}"/>
              </a:ext>
            </a:extLst>
          </p:cNvPr>
          <p:cNvGrpSpPr/>
          <p:nvPr/>
        </p:nvGrpSpPr>
        <p:grpSpPr>
          <a:xfrm>
            <a:off x="2872307" y="4357672"/>
            <a:ext cx="1611089" cy="423485"/>
            <a:chOff x="10724304" y="3267856"/>
            <a:chExt cx="1145226" cy="349987"/>
          </a:xfrm>
          <a:solidFill>
            <a:srgbClr val="F2F2F2">
              <a:lumMod val="75000"/>
            </a:srgbClr>
          </a:solidFill>
        </p:grpSpPr>
        <p:sp>
          <p:nvSpPr>
            <p:cNvPr id="33" name="Textfeld 19">
              <a:extLst>
                <a:ext uri="{FF2B5EF4-FFF2-40B4-BE49-F238E27FC236}">
                  <a16:creationId xmlns:a16="http://schemas.microsoft.com/office/drawing/2014/main" id="{40C9171B-093D-0453-9582-4E3C434914F9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 bwMode="gray">
            <a:xfrm>
              <a:off x="10724304" y="3267856"/>
              <a:ext cx="1145226" cy="80527"/>
            </a:xfrm>
            <a:prstGeom prst="rect">
              <a:avLst/>
            </a:prstGeom>
            <a:grpFill/>
            <a:ln w="9525">
              <a:noFill/>
            </a:ln>
          </p:spPr>
          <p:txBody>
            <a:bodyPr wrap="square" lIns="216000" tIns="468000" rIns="21600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A9CB61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Textfeld 19">
              <a:extLst>
                <a:ext uri="{FF2B5EF4-FFF2-40B4-BE49-F238E27FC236}">
                  <a16:creationId xmlns:a16="http://schemas.microsoft.com/office/drawing/2014/main" id="{A54225B7-01C6-45D1-205E-4B7914AAF79E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 bwMode="gray">
            <a:xfrm>
              <a:off x="10724304" y="3402586"/>
              <a:ext cx="1145226" cy="80527"/>
            </a:xfrm>
            <a:prstGeom prst="rect">
              <a:avLst/>
            </a:prstGeom>
            <a:grpFill/>
            <a:ln w="9525">
              <a:noFill/>
            </a:ln>
          </p:spPr>
          <p:txBody>
            <a:bodyPr wrap="square" lIns="216000" tIns="468000" rIns="21600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A9CB61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Textfeld 19">
              <a:extLst>
                <a:ext uri="{FF2B5EF4-FFF2-40B4-BE49-F238E27FC236}">
                  <a16:creationId xmlns:a16="http://schemas.microsoft.com/office/drawing/2014/main" id="{DBBFA7EA-7054-D59D-F199-C9FB0629543A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 bwMode="gray">
            <a:xfrm>
              <a:off x="10724304" y="3537316"/>
              <a:ext cx="711095" cy="80527"/>
            </a:xfrm>
            <a:prstGeom prst="rect">
              <a:avLst/>
            </a:prstGeom>
            <a:grpFill/>
            <a:ln w="9525">
              <a:noFill/>
            </a:ln>
          </p:spPr>
          <p:txBody>
            <a:bodyPr wrap="square" lIns="216000" tIns="468000" rIns="21600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A9CB61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36" name="Graphic 29" descr="Tick">
            <a:extLst>
              <a:ext uri="{FF2B5EF4-FFF2-40B4-BE49-F238E27FC236}">
                <a16:creationId xmlns:a16="http://schemas.microsoft.com/office/drawing/2014/main" id="{C4105A3A-6CFB-6426-DCB1-9945C6A3054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932506" y="3922184"/>
            <a:ext cx="914401" cy="914401"/>
          </a:xfrm>
          <a:prstGeom prst="rect">
            <a:avLst/>
          </a:prstGeom>
        </p:spPr>
      </p:pic>
      <p:sp>
        <p:nvSpPr>
          <p:cNvPr id="37" name="Textfeld 36">
            <a:extLst>
              <a:ext uri="{FF2B5EF4-FFF2-40B4-BE49-F238E27FC236}">
                <a16:creationId xmlns:a16="http://schemas.microsoft.com/office/drawing/2014/main" id="{35969BD2-9680-B1C7-B404-665CF34DB76B}"/>
              </a:ext>
            </a:extLst>
          </p:cNvPr>
          <p:cNvSpPr txBox="1">
            <a:spLocks/>
          </p:cNvSpPr>
          <p:nvPr/>
        </p:nvSpPr>
        <p:spPr>
          <a:xfrm>
            <a:off x="5624372" y="574396"/>
            <a:ext cx="5408249" cy="5986207"/>
          </a:xfrm>
          <a:custGeom>
            <a:avLst/>
            <a:gdLst>
              <a:gd name="connsiteX0" fmla="*/ 6377128 w 6377128"/>
              <a:gd name="connsiteY0" fmla="*/ 0 h 4399830"/>
              <a:gd name="connsiteX1" fmla="*/ 6377128 w 6377128"/>
              <a:gd name="connsiteY1" fmla="*/ 3783914 h 4399830"/>
              <a:gd name="connsiteX2" fmla="*/ 0 w 6377128"/>
              <a:gd name="connsiteY2" fmla="*/ 4399830 h 4399830"/>
              <a:gd name="connsiteX3" fmla="*/ 0 w 6377128"/>
              <a:gd name="connsiteY3" fmla="*/ 642018 h 4399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77128" h="4399830">
                <a:moveTo>
                  <a:pt x="6377128" y="0"/>
                </a:moveTo>
                <a:lnTo>
                  <a:pt x="6377128" y="3783914"/>
                </a:lnTo>
                <a:lnTo>
                  <a:pt x="0" y="4399830"/>
                </a:lnTo>
                <a:lnTo>
                  <a:pt x="0" y="642018"/>
                </a:lnTo>
                <a:close/>
              </a:path>
            </a:pathLst>
          </a:custGeom>
          <a:solidFill>
            <a:srgbClr val="CDDC00"/>
          </a:solidFill>
        </p:spPr>
        <p:txBody>
          <a:bodyPr vert="horz" wrap="square" lIns="180000" tIns="360000" rIns="180000" bIns="360000" rtlCol="0" anchor="t" anchorCtr="0">
            <a:noAutofit/>
          </a:bodyPr>
          <a:lstStyle>
            <a:lvl1pPr marL="358775" indent="-358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 kern="6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 kern="6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3603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SzPct val="150000"/>
              <a:buFontTx/>
              <a:buBlip>
                <a:blip r:embed="rId26"/>
              </a:buBlip>
              <a:defRPr sz="1400" kern="6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b="1" kern="600" cap="none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400" b="0" i="0" u="none" strike="noStrike" kern="6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feld 53">
            <a:extLst>
              <a:ext uri="{FF2B5EF4-FFF2-40B4-BE49-F238E27FC236}">
                <a16:creationId xmlns:a16="http://schemas.microsoft.com/office/drawing/2014/main" id="{714C5AE5-F61A-2785-3868-51782C0C080A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6392864" y="2655389"/>
            <a:ext cx="5811836" cy="379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 anchor="t">
            <a:noAutofit/>
          </a:bodyPr>
          <a:lstStyle>
            <a:lvl1pPr eaLnBrk="0" hangingPunct="0">
              <a:spcBef>
                <a:spcPct val="80000"/>
              </a:spcBef>
              <a:buClr>
                <a:schemeClr val="tx1"/>
              </a:buClr>
              <a:buFont typeface="Wingdings" pitchFamily="2" charset="2"/>
              <a:defRPr sz="1600" b="1">
                <a:solidFill>
                  <a:srgbClr val="373D4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60000"/>
              </a:spcBef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600"/>
              </a:spcBef>
              <a:buClr>
                <a:srgbClr val="44A12C"/>
              </a:buClr>
            </a:pPr>
            <a:r>
              <a:rPr lang="de-DE" sz="1800" dirty="0">
                <a:solidFill>
                  <a:srgbClr val="44A12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ffektivität, Zeit- </a:t>
            </a:r>
          </a:p>
          <a:p>
            <a:pPr eaLnBrk="1" hangingPunct="1">
              <a:spcBef>
                <a:spcPts val="600"/>
              </a:spcBef>
              <a:buClr>
                <a:srgbClr val="44A12C"/>
              </a:buClr>
            </a:pPr>
            <a:r>
              <a:rPr lang="de-DE" sz="1800" dirty="0">
                <a:solidFill>
                  <a:srgbClr val="44A12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und Kostenersparnis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F6B0DCD4-D18F-4FAC-48A7-23B58079C462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6354982" y="1520936"/>
            <a:ext cx="6112583" cy="379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 anchor="t">
            <a:noAutofit/>
          </a:bodyPr>
          <a:lstStyle>
            <a:lvl1pPr eaLnBrk="0" hangingPunct="0">
              <a:spcBef>
                <a:spcPct val="80000"/>
              </a:spcBef>
              <a:buClr>
                <a:schemeClr val="tx1"/>
              </a:buClr>
              <a:buFont typeface="Wingdings" pitchFamily="2" charset="2"/>
              <a:defRPr sz="1600" b="1">
                <a:solidFill>
                  <a:srgbClr val="373D4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60000"/>
              </a:spcBef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A12C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44A12C"/>
                </a:solidFill>
                <a:effectLst/>
                <a:uLnTx/>
                <a:uFillTx/>
                <a:latin typeface="Arial" charset="0"/>
                <a:cs typeface="Arial" charset="0"/>
              </a:rPr>
              <a:t>Sicherheit</a:t>
            </a: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44A12C"/>
                </a:solidFill>
                <a:effectLst/>
                <a:uLnTx/>
                <a:uFillTx/>
                <a:latin typeface="Arial" charset="0"/>
                <a:cs typeface="Arial" charset="0"/>
              </a:rPr>
              <a:t> 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44A12C"/>
                </a:solidFill>
                <a:effectLst/>
                <a:uLnTx/>
                <a:uFillTx/>
                <a:latin typeface="Arial" charset="0"/>
                <a:cs typeface="Arial" charset="0"/>
              </a:rPr>
              <a:t>(</a:t>
            </a:r>
            <a:r>
              <a:rPr kumimoji="0" lang="en-GB" sz="1400" b="1" i="0" u="none" strike="noStrike" kern="0" cap="none" spc="0" normalizeH="0" baseline="0" noProof="0" dirty="0" err="1">
                <a:ln>
                  <a:noFill/>
                </a:ln>
                <a:solidFill>
                  <a:srgbClr val="44A12C"/>
                </a:solidFill>
                <a:effectLst/>
                <a:uLnTx/>
                <a:uFillTx/>
                <a:latin typeface="Arial" charset="0"/>
                <a:cs typeface="Arial" charset="0"/>
              </a:rPr>
              <a:t>Behörden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44A12C"/>
                </a:solidFill>
                <a:effectLst/>
                <a:uLnTx/>
                <a:uFillTx/>
                <a:latin typeface="Arial" charset="0"/>
                <a:cs typeface="Arial" charset="0"/>
              </a:rPr>
              <a:t>)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44A12C"/>
              </a:solidFill>
              <a:effectLst/>
              <a:uLnTx/>
              <a:uFillTx/>
              <a:latin typeface="Arial" charset="0"/>
              <a:cs typeface="Arial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A12C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44A12C"/>
                </a:solidFill>
                <a:effectLst/>
                <a:uLnTx/>
                <a:uFillTx/>
                <a:latin typeface="Arial" charset="0"/>
                <a:cs typeface="Arial" charset="0"/>
              </a:rPr>
              <a:t>und </a:t>
            </a: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44A12C"/>
                </a:solidFill>
                <a:effectLst/>
                <a:uLnTx/>
                <a:uFillTx/>
                <a:latin typeface="Arial" charset="0"/>
                <a:cs typeface="Arial" charset="0"/>
              </a:rPr>
              <a:t>Transparenz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44A12C"/>
              </a:solidFill>
              <a:effectLst/>
              <a:uLnTx/>
              <a:uFillTx/>
              <a:latin typeface="Arial" charset="0"/>
              <a:cs typeface="Arial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A12C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44A12C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feld 53">
            <a:extLst>
              <a:ext uri="{FF2B5EF4-FFF2-40B4-BE49-F238E27FC236}">
                <a16:creationId xmlns:a16="http://schemas.microsoft.com/office/drawing/2014/main" id="{7ECC8120-23BA-54FC-9D4A-AE93A2BF39A3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6380164" y="3837178"/>
            <a:ext cx="5811836" cy="379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 anchor="t">
            <a:noAutofit/>
          </a:bodyPr>
          <a:lstStyle>
            <a:lvl1pPr eaLnBrk="0" hangingPunct="0">
              <a:spcBef>
                <a:spcPct val="80000"/>
              </a:spcBef>
              <a:buClr>
                <a:schemeClr val="tx1"/>
              </a:buClr>
              <a:buFont typeface="Wingdings" pitchFamily="2" charset="2"/>
              <a:defRPr sz="1600" b="1">
                <a:solidFill>
                  <a:srgbClr val="373D4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60000"/>
              </a:spcBef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600"/>
              </a:spcBef>
              <a:buClr>
                <a:srgbClr val="44A12C"/>
              </a:buClr>
            </a:pPr>
            <a:r>
              <a:rPr lang="de-DE" sz="1800" dirty="0">
                <a:solidFill>
                  <a:srgbClr val="44A12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Verfügbar in Echtzeit </a:t>
            </a:r>
          </a:p>
          <a:p>
            <a:pPr eaLnBrk="1" hangingPunct="1">
              <a:spcBef>
                <a:spcPts val="600"/>
              </a:spcBef>
              <a:buClr>
                <a:srgbClr val="44A12C"/>
              </a:buClr>
            </a:pPr>
            <a:r>
              <a:rPr lang="de-DE" sz="1800" dirty="0">
                <a:solidFill>
                  <a:srgbClr val="44A12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und strukturierte Prozesse</a:t>
            </a:r>
          </a:p>
        </p:txBody>
      </p:sp>
      <p:sp>
        <p:nvSpPr>
          <p:cNvPr id="41" name="Freihandform 54">
            <a:extLst>
              <a:ext uri="{FF2B5EF4-FFF2-40B4-BE49-F238E27FC236}">
                <a16:creationId xmlns:a16="http://schemas.microsoft.com/office/drawing/2014/main" id="{9678DBE3-E891-2A1D-DFCD-9FB80F7B8B13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 flipH="1">
            <a:off x="3805841" y="4014955"/>
            <a:ext cx="2314717" cy="341576"/>
          </a:xfrm>
          <a:custGeom>
            <a:avLst/>
            <a:gdLst>
              <a:gd name="connsiteX0" fmla="*/ 3768811 w 3768811"/>
              <a:gd name="connsiteY0" fmla="*/ 265670 h 265670"/>
              <a:gd name="connsiteX1" fmla="*/ 3503141 w 3768811"/>
              <a:gd name="connsiteY1" fmla="*/ 0 h 265670"/>
              <a:gd name="connsiteX2" fmla="*/ 0 w 3768811"/>
              <a:gd name="connsiteY2" fmla="*/ 0 h 265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68811" h="265670">
                <a:moveTo>
                  <a:pt x="3768811" y="265670"/>
                </a:moveTo>
                <a:lnTo>
                  <a:pt x="3503141" y="0"/>
                </a:lnTo>
                <a:lnTo>
                  <a:pt x="0" y="0"/>
                </a:lnTo>
              </a:path>
            </a:pathLst>
          </a:custGeom>
          <a:noFill/>
          <a:ln w="53975" cap="rnd">
            <a:solidFill>
              <a:schemeClr val="bg2"/>
            </a:solidFill>
            <a:headEnd type="oval"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2" name="Freihandform 54">
            <a:extLst>
              <a:ext uri="{FF2B5EF4-FFF2-40B4-BE49-F238E27FC236}">
                <a16:creationId xmlns:a16="http://schemas.microsoft.com/office/drawing/2014/main" id="{24B31806-B7A4-D102-EAE2-8960FB1FB4AD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 flipH="1">
            <a:off x="3805841" y="1710558"/>
            <a:ext cx="2314717" cy="341576"/>
          </a:xfrm>
          <a:custGeom>
            <a:avLst/>
            <a:gdLst>
              <a:gd name="connsiteX0" fmla="*/ 3768811 w 3768811"/>
              <a:gd name="connsiteY0" fmla="*/ 265670 h 265670"/>
              <a:gd name="connsiteX1" fmla="*/ 3503141 w 3768811"/>
              <a:gd name="connsiteY1" fmla="*/ 0 h 265670"/>
              <a:gd name="connsiteX2" fmla="*/ 0 w 3768811"/>
              <a:gd name="connsiteY2" fmla="*/ 0 h 265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68811" h="265670">
                <a:moveTo>
                  <a:pt x="3768811" y="265670"/>
                </a:moveTo>
                <a:lnTo>
                  <a:pt x="3503141" y="0"/>
                </a:lnTo>
                <a:lnTo>
                  <a:pt x="0" y="0"/>
                </a:lnTo>
              </a:path>
            </a:pathLst>
          </a:custGeom>
          <a:noFill/>
          <a:ln w="53975" cap="rnd">
            <a:solidFill>
              <a:schemeClr val="bg2"/>
            </a:solidFill>
            <a:headEnd type="oval"/>
          </a:ln>
        </p:spPr>
        <p:txBody>
          <a:bodyPr rtlCol="0" anchor="ctr"/>
          <a:lstStyle/>
          <a:p>
            <a:pPr algn="ctr" defTabSz="914400"/>
            <a:endParaRPr lang="de-DE" sz="700" kern="0" dirty="0">
              <a:solidFill>
                <a:srgbClr val="000000"/>
              </a:solidFill>
            </a:endParaRPr>
          </a:p>
        </p:txBody>
      </p:sp>
      <p:sp>
        <p:nvSpPr>
          <p:cNvPr id="43" name="Freihandform 54">
            <a:extLst>
              <a:ext uri="{FF2B5EF4-FFF2-40B4-BE49-F238E27FC236}">
                <a16:creationId xmlns:a16="http://schemas.microsoft.com/office/drawing/2014/main" id="{55EC41F0-1AA3-883A-293D-41AADC7F3A5A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 flipH="1">
            <a:off x="3805841" y="2842613"/>
            <a:ext cx="2314717" cy="341576"/>
          </a:xfrm>
          <a:custGeom>
            <a:avLst/>
            <a:gdLst>
              <a:gd name="connsiteX0" fmla="*/ 3768811 w 3768811"/>
              <a:gd name="connsiteY0" fmla="*/ 265670 h 265670"/>
              <a:gd name="connsiteX1" fmla="*/ 3503141 w 3768811"/>
              <a:gd name="connsiteY1" fmla="*/ 0 h 265670"/>
              <a:gd name="connsiteX2" fmla="*/ 0 w 3768811"/>
              <a:gd name="connsiteY2" fmla="*/ 0 h 265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68811" h="265670">
                <a:moveTo>
                  <a:pt x="3768811" y="265670"/>
                </a:moveTo>
                <a:lnTo>
                  <a:pt x="3503141" y="0"/>
                </a:lnTo>
                <a:lnTo>
                  <a:pt x="0" y="0"/>
                </a:lnTo>
              </a:path>
            </a:pathLst>
          </a:custGeom>
          <a:noFill/>
          <a:ln w="53975" cap="rnd">
            <a:solidFill>
              <a:schemeClr val="bg2"/>
            </a:solidFill>
            <a:headEnd type="oval"/>
          </a:ln>
        </p:spPr>
        <p:txBody>
          <a:bodyPr rtlCol="0" anchor="ctr"/>
          <a:lstStyle/>
          <a:p>
            <a:pPr algn="ctr" defTabSz="914400"/>
            <a:endParaRPr lang="de-DE" sz="700" kern="0" dirty="0">
              <a:solidFill>
                <a:srgbClr val="000000"/>
              </a:solidFill>
            </a:endParaRPr>
          </a:p>
        </p:txBody>
      </p:sp>
      <p:sp>
        <p:nvSpPr>
          <p:cNvPr id="44" name="Text Placeholder 61">
            <a:extLst>
              <a:ext uri="{FF2B5EF4-FFF2-40B4-BE49-F238E27FC236}">
                <a16:creationId xmlns:a16="http://schemas.microsoft.com/office/drawing/2014/main" id="{E308F8FA-DA46-20BF-C816-29568C82242B}"/>
              </a:ext>
            </a:extLst>
          </p:cNvPr>
          <p:cNvSpPr txBox="1">
            <a:spLocks/>
          </p:cNvSpPr>
          <p:nvPr/>
        </p:nvSpPr>
        <p:spPr>
          <a:xfrm>
            <a:off x="9370200" y="48706"/>
            <a:ext cx="1519239" cy="1519239"/>
          </a:xfrm>
          <a:prstGeom prst="ellipse">
            <a:avLst/>
          </a:prstGeom>
          <a:solidFill>
            <a:srgbClr val="FFC000"/>
          </a:solidFill>
        </p:spPr>
        <p:txBody>
          <a:bodyPr lIns="0" tIns="0" rIns="0" bIns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5963" indent="-3571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&gt;"/>
              <a:defRPr sz="1400" kern="6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3603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50000"/>
              <a:buFontTx/>
              <a:buBlip>
                <a:blip r:embed="rId27"/>
              </a:buBlip>
              <a:defRPr sz="1400" kern="6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b="1" kern="600" cap="none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4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sz="2000" b="1" dirty="0"/>
              <a:t>Vorteile</a:t>
            </a:r>
          </a:p>
        </p:txBody>
      </p:sp>
      <p:sp>
        <p:nvSpPr>
          <p:cNvPr id="45" name="Oval 27">
            <a:extLst>
              <a:ext uri="{FF2B5EF4-FFF2-40B4-BE49-F238E27FC236}">
                <a16:creationId xmlns:a16="http://schemas.microsoft.com/office/drawing/2014/main" id="{A4C37B01-56AD-5F7B-BB04-FA1211D89B52}"/>
              </a:ext>
            </a:extLst>
          </p:cNvPr>
          <p:cNvSpPr/>
          <p:nvPr/>
        </p:nvSpPr>
        <p:spPr>
          <a:xfrm>
            <a:off x="2042298" y="5452381"/>
            <a:ext cx="629587" cy="629588"/>
          </a:xfrm>
          <a:prstGeom prst="ellipse">
            <a:avLst/>
          </a:prstGeom>
          <a:solidFill>
            <a:srgbClr val="44A12C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6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6" name="Group 28">
            <a:extLst>
              <a:ext uri="{FF2B5EF4-FFF2-40B4-BE49-F238E27FC236}">
                <a16:creationId xmlns:a16="http://schemas.microsoft.com/office/drawing/2014/main" id="{EB017161-8761-9C6C-E360-43E4DB160FEC}"/>
              </a:ext>
            </a:extLst>
          </p:cNvPr>
          <p:cNvGrpSpPr/>
          <p:nvPr/>
        </p:nvGrpSpPr>
        <p:grpSpPr>
          <a:xfrm>
            <a:off x="2921810" y="5585795"/>
            <a:ext cx="1611089" cy="423485"/>
            <a:chOff x="10724304" y="3267856"/>
            <a:chExt cx="1145226" cy="349987"/>
          </a:xfrm>
          <a:solidFill>
            <a:srgbClr val="F2F2F2">
              <a:lumMod val="75000"/>
            </a:srgbClr>
          </a:solidFill>
        </p:grpSpPr>
        <p:sp>
          <p:nvSpPr>
            <p:cNvPr id="47" name="Textfeld 19">
              <a:extLst>
                <a:ext uri="{FF2B5EF4-FFF2-40B4-BE49-F238E27FC236}">
                  <a16:creationId xmlns:a16="http://schemas.microsoft.com/office/drawing/2014/main" id="{587531C5-126B-10C0-B455-C26A4441EC8C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 bwMode="gray">
            <a:xfrm>
              <a:off x="10724304" y="3267856"/>
              <a:ext cx="1145226" cy="80527"/>
            </a:xfrm>
            <a:prstGeom prst="rect">
              <a:avLst/>
            </a:prstGeom>
            <a:grpFill/>
            <a:ln w="9525">
              <a:noFill/>
            </a:ln>
          </p:spPr>
          <p:txBody>
            <a:bodyPr wrap="square" lIns="216000" tIns="468000" rIns="21600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A9CB61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Textfeld 19">
              <a:extLst>
                <a:ext uri="{FF2B5EF4-FFF2-40B4-BE49-F238E27FC236}">
                  <a16:creationId xmlns:a16="http://schemas.microsoft.com/office/drawing/2014/main" id="{C1F56A11-70C2-26A8-39B1-9FA815539D6B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 bwMode="gray">
            <a:xfrm>
              <a:off x="10724304" y="3402586"/>
              <a:ext cx="1145226" cy="80527"/>
            </a:xfrm>
            <a:prstGeom prst="rect">
              <a:avLst/>
            </a:prstGeom>
            <a:grpFill/>
            <a:ln w="9525">
              <a:noFill/>
            </a:ln>
          </p:spPr>
          <p:txBody>
            <a:bodyPr wrap="square" lIns="216000" tIns="468000" rIns="21600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A9CB61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Textfeld 19">
              <a:extLst>
                <a:ext uri="{FF2B5EF4-FFF2-40B4-BE49-F238E27FC236}">
                  <a16:creationId xmlns:a16="http://schemas.microsoft.com/office/drawing/2014/main" id="{05451EFA-ABAA-53E0-C3B7-DEA2DB363CD1}"/>
                </a:ext>
              </a:extLst>
            </p:cNvPr>
            <p:cNvSpPr txBox="1"/>
            <p:nvPr>
              <p:custDataLst>
                <p:tags r:id="rId9"/>
              </p:custDataLst>
            </p:nvPr>
          </p:nvSpPr>
          <p:spPr bwMode="gray">
            <a:xfrm>
              <a:off x="10724304" y="3537316"/>
              <a:ext cx="711095" cy="80527"/>
            </a:xfrm>
            <a:prstGeom prst="rect">
              <a:avLst/>
            </a:prstGeom>
            <a:grpFill/>
            <a:ln w="9525">
              <a:noFill/>
            </a:ln>
          </p:spPr>
          <p:txBody>
            <a:bodyPr wrap="square" lIns="216000" tIns="468000" rIns="21600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A9CB61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50" name="Graphic 29" descr="Tick">
            <a:extLst>
              <a:ext uri="{FF2B5EF4-FFF2-40B4-BE49-F238E27FC236}">
                <a16:creationId xmlns:a16="http://schemas.microsoft.com/office/drawing/2014/main" id="{CDA0D4F2-93F3-6F6B-CEE6-FDA94E15746E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982009" y="5150307"/>
            <a:ext cx="914401" cy="914401"/>
          </a:xfrm>
          <a:prstGeom prst="rect">
            <a:avLst/>
          </a:prstGeom>
        </p:spPr>
      </p:pic>
      <p:sp>
        <p:nvSpPr>
          <p:cNvPr id="51" name="Textfeld 53">
            <a:extLst>
              <a:ext uri="{FF2B5EF4-FFF2-40B4-BE49-F238E27FC236}">
                <a16:creationId xmlns:a16="http://schemas.microsoft.com/office/drawing/2014/main" id="{2FE5CB11-1E30-1F75-1A19-0999ADDA4E76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6383507" y="5053456"/>
            <a:ext cx="5811836" cy="379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 anchor="t">
            <a:noAutofit/>
          </a:bodyPr>
          <a:lstStyle>
            <a:lvl1pPr eaLnBrk="0" hangingPunct="0">
              <a:spcBef>
                <a:spcPct val="80000"/>
              </a:spcBef>
              <a:buClr>
                <a:schemeClr val="tx1"/>
              </a:buClr>
              <a:buFont typeface="Wingdings" pitchFamily="2" charset="2"/>
              <a:defRPr sz="1600" b="1">
                <a:solidFill>
                  <a:srgbClr val="373D4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60000"/>
              </a:spcBef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rgbClr val="373D4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600"/>
              </a:spcBef>
              <a:buClr>
                <a:srgbClr val="44A12C"/>
              </a:buClr>
            </a:pPr>
            <a:r>
              <a:rPr lang="de-DE" sz="1800" dirty="0">
                <a:solidFill>
                  <a:srgbClr val="44A12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verbesserter Unternehmenserfolg</a:t>
            </a:r>
          </a:p>
        </p:txBody>
      </p:sp>
      <p:sp>
        <p:nvSpPr>
          <p:cNvPr id="52" name="Freihandform 54">
            <a:extLst>
              <a:ext uri="{FF2B5EF4-FFF2-40B4-BE49-F238E27FC236}">
                <a16:creationId xmlns:a16="http://schemas.microsoft.com/office/drawing/2014/main" id="{4D5F2055-6580-5186-DF16-04C9E954875E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 flipH="1">
            <a:off x="3855344" y="5243078"/>
            <a:ext cx="2314717" cy="341576"/>
          </a:xfrm>
          <a:custGeom>
            <a:avLst/>
            <a:gdLst>
              <a:gd name="connsiteX0" fmla="*/ 3768811 w 3768811"/>
              <a:gd name="connsiteY0" fmla="*/ 265670 h 265670"/>
              <a:gd name="connsiteX1" fmla="*/ 3503141 w 3768811"/>
              <a:gd name="connsiteY1" fmla="*/ 0 h 265670"/>
              <a:gd name="connsiteX2" fmla="*/ 0 w 3768811"/>
              <a:gd name="connsiteY2" fmla="*/ 0 h 265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68811" h="265670">
                <a:moveTo>
                  <a:pt x="3768811" y="265670"/>
                </a:moveTo>
                <a:lnTo>
                  <a:pt x="3503141" y="0"/>
                </a:lnTo>
                <a:lnTo>
                  <a:pt x="0" y="0"/>
                </a:lnTo>
              </a:path>
            </a:pathLst>
          </a:custGeom>
          <a:noFill/>
          <a:ln w="53975" cap="rnd">
            <a:solidFill>
              <a:schemeClr val="bg2"/>
            </a:solidFill>
            <a:headEnd type="oval"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1847086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66406E-0724-4107-AA7B-FEA4164C17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566406E-0724-4107-AA7B-FEA4164C1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DB2A292-545D-E3AF-A58D-FC2FBB066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9555BDC-1456-999A-5ABE-BFAB70CEB8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636" y="0"/>
            <a:ext cx="121487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071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SSZEILE" val="Generalverwaltung 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kHTJfUrRuYn7q_SxfL4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kHTJfUrRuYn7q_SxfL4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kbqoQVi9bcLefJPOM1N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kbqoQVi9bcLefJPOM1N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fbhpXQ_M0DOhh5xW9Gz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fbhpXQ_M0DOhh5xW9Gz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wcL.bt.c2rbLxKTY0LM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0LpXoumvuURVZymWQRe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6jtU7nt0fRovSxeWgQq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kHTJfUrRuYn7q_SxfL4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kbqoQVi9bcLefJPOM1N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fbhpXQ_M0DOhh5xW9Gz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0LpXoumvuURVZymWQRe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6jtU7nt0fRovSxeWgQq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0LpXoumvuURVZymWQR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6jtU7nt0fRovSxeWgQqA"/>
</p:tagLst>
</file>

<file path=ppt/theme/theme1.xml><?xml version="1.0" encoding="utf-8"?>
<a:theme xmlns:a="http://schemas.openxmlformats.org/drawingml/2006/main" name="NEXT Farming 2020">
  <a:themeElements>
    <a:clrScheme name="Benutzerdefiniert 93">
      <a:dk1>
        <a:srgbClr val="000000"/>
      </a:dk1>
      <a:lt1>
        <a:srgbClr val="FFFFFF"/>
      </a:lt1>
      <a:dk2>
        <a:srgbClr val="44A12C"/>
      </a:dk2>
      <a:lt2>
        <a:srgbClr val="F2F2F2"/>
      </a:lt2>
      <a:accent1>
        <a:srgbClr val="44A12C"/>
      </a:accent1>
      <a:accent2>
        <a:srgbClr val="74B56E"/>
      </a:accent2>
      <a:accent3>
        <a:srgbClr val="A9CB61"/>
      </a:accent3>
      <a:accent4>
        <a:srgbClr val="B3E0CB"/>
      </a:accent4>
      <a:accent5>
        <a:srgbClr val="CDDC00"/>
      </a:accent5>
      <a:accent6>
        <a:srgbClr val="369A48"/>
      </a:accent6>
      <a:hlink>
        <a:srgbClr val="000000"/>
      </a:hlink>
      <a:folHlink>
        <a:srgbClr val="000000"/>
      </a:folHlink>
    </a:clrScheme>
    <a:fontScheme name="NEXT Farmin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6350">
          <a:noFill/>
        </a:ln>
      </a:spPr>
      <a:bodyPr lIns="72000" tIns="72000" rIns="72000" bIns="72000" rtlCol="0" anchor="t"/>
      <a:lstStyle>
        <a:defPPr algn="l">
          <a:spcAft>
            <a:spcPts val="1200"/>
          </a:spcAft>
          <a:defRPr sz="1400" kern="600" spc="0" baseline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355600" indent="-355600" algn="l">
          <a:spcAft>
            <a:spcPts val="1200"/>
          </a:spcAft>
          <a:buClr>
            <a:schemeClr val="tx2"/>
          </a:buClr>
          <a:buFont typeface="Arial" panose="020B0604020202020204" pitchFamily="34" charset="0"/>
          <a:buChar char="&gt;"/>
          <a:defRPr sz="1400" kern="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10EK_20201215_NEXT iBlankomaster" id="{0F6D86C9-80BC-034F-883C-43AA2FDCA5CA}" vid="{D597EA1F-4E47-A649-8367-2B290744CFCF}"/>
    </a:ext>
  </a:extLst>
</a:theme>
</file>

<file path=ppt/theme/theme2.xml><?xml version="1.0" encoding="utf-8"?>
<a:theme xmlns:a="http://schemas.openxmlformats.org/drawingml/2006/main" name="DesignNF">
  <a:themeElements>
    <a:clrScheme name="Benutzerdefiniert 93">
      <a:dk1>
        <a:srgbClr val="000000"/>
      </a:dk1>
      <a:lt1>
        <a:srgbClr val="FFFFFF"/>
      </a:lt1>
      <a:dk2>
        <a:srgbClr val="44A12C"/>
      </a:dk2>
      <a:lt2>
        <a:srgbClr val="F2F2F2"/>
      </a:lt2>
      <a:accent1>
        <a:srgbClr val="44A12C"/>
      </a:accent1>
      <a:accent2>
        <a:srgbClr val="74B56E"/>
      </a:accent2>
      <a:accent3>
        <a:srgbClr val="A9CB61"/>
      </a:accent3>
      <a:accent4>
        <a:srgbClr val="B3E0CB"/>
      </a:accent4>
      <a:accent5>
        <a:srgbClr val="CDDC00"/>
      </a:accent5>
      <a:accent6>
        <a:srgbClr val="369A48"/>
      </a:accent6>
      <a:hlink>
        <a:srgbClr val="000000"/>
      </a:hlink>
      <a:folHlink>
        <a:srgbClr val="000000"/>
      </a:folHlink>
    </a:clrScheme>
    <a:fontScheme name="NEXT Farmin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6350">
          <a:noFill/>
        </a:ln>
      </a:spPr>
      <a:bodyPr lIns="72000" tIns="72000" rIns="72000" bIns="72000" rtlCol="0" anchor="t"/>
      <a:lstStyle>
        <a:defPPr algn="l">
          <a:spcAft>
            <a:spcPts val="1200"/>
          </a:spcAft>
          <a:defRPr sz="1400" kern="600" spc="0" baseline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355600" indent="-355600" algn="l">
          <a:spcAft>
            <a:spcPts val="1200"/>
          </a:spcAft>
          <a:buClr>
            <a:schemeClr val="tx2"/>
          </a:buClr>
          <a:buFont typeface="Arial" panose="020B0604020202020204" pitchFamily="34" charset="0"/>
          <a:buChar char="&gt;"/>
          <a:defRPr sz="1400" kern="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signNF" id="{FC9AD6AE-6B55-4DA4-B33F-8CF6FF790F44}" vid="{9D6DC14A-E13D-4CDD-9E02-64596D080F38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8d28d31-b6a8-4bfd-8dd6-1bf259156948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CC8B65A6DD38C418E9E4D83A216A36D" ma:contentTypeVersion="13" ma:contentTypeDescription="Ein neues Dokument erstellen." ma:contentTypeScope="" ma:versionID="1032f2aff91ebf2a2b1789d75f48fcff">
  <xsd:schema xmlns:xsd="http://www.w3.org/2001/XMLSchema" xmlns:xs="http://www.w3.org/2001/XMLSchema" xmlns:p="http://schemas.microsoft.com/office/2006/metadata/properties" xmlns:ns3="923e5bad-346d-44cd-ae11-e76dc2b47c57" xmlns:ns4="58d28d31-b6a8-4bfd-8dd6-1bf259156948" targetNamespace="http://schemas.microsoft.com/office/2006/metadata/properties" ma:root="true" ma:fieldsID="c2349d29388e09575e60fd79c8f20adb" ns3:_="" ns4:_="">
    <xsd:import namespace="923e5bad-346d-44cd-ae11-e76dc2b47c57"/>
    <xsd:import namespace="58d28d31-b6a8-4bfd-8dd6-1bf259156948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LengthInSeconds" minOccurs="0"/>
                <xsd:element ref="ns4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3e5bad-346d-44cd-ae11-e76dc2b47c5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Freigabehinweis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d28d31-b6a8-4bfd-8dd6-1bf2591569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1FBC47F-B739-4059-AA7C-5720834B42D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EC83180-9826-4D0E-AB0F-338AE03CC338}">
  <ds:schemaRefs>
    <ds:schemaRef ds:uri="http://schemas.microsoft.com/office/2006/metadata/properties"/>
    <ds:schemaRef ds:uri="http://purl.org/dc/terms/"/>
    <ds:schemaRef ds:uri="58d28d31-b6a8-4bfd-8dd6-1bf259156948"/>
    <ds:schemaRef ds:uri="923e5bad-346d-44cd-ae11-e76dc2b47c57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1542B81-7794-4855-8A83-D89ECF12CAC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23e5bad-346d-44cd-ae11-e76dc2b47c57"/>
    <ds:schemaRef ds:uri="58d28d31-b6a8-4bfd-8dd6-1bf25915694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omaster</Template>
  <TotalTime>0</TotalTime>
  <Words>358</Words>
  <Application>Microsoft Office PowerPoint</Application>
  <PresentationFormat>Breitbild</PresentationFormat>
  <Paragraphs>132</Paragraphs>
  <Slides>17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4" baseType="lpstr">
      <vt:lpstr>Arial</vt:lpstr>
      <vt:lpstr>Arial Regular</vt:lpstr>
      <vt:lpstr>Calibri</vt:lpstr>
      <vt:lpstr>Wingdings</vt:lpstr>
      <vt:lpstr>NEXT Farming 2020</vt:lpstr>
      <vt:lpstr>DesignNF</vt:lpstr>
      <vt:lpstr>think-cell Folie</vt:lpstr>
      <vt:lpstr>NEXT Farming Pro Das komplette Farm Management System </vt:lpstr>
      <vt:lpstr>Agenda</vt:lpstr>
      <vt:lpstr>PowerPoint-Präsentation</vt:lpstr>
      <vt:lpstr>PowerPoint-Präsentation</vt:lpstr>
      <vt:lpstr>Das NEXT Farming Pro Datenmodell</vt:lpstr>
      <vt:lpstr>Kundengruppen die wir auf Pro Umstellen werden</vt:lpstr>
      <vt:lpstr>Weitere Kundengruppen die wir auf Pro umstellen werde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XT Machine Management</dc:title>
  <dc:subject/>
  <dc:creator>Wiener Alexander</dc:creator>
  <cp:keywords/>
  <dc:description/>
  <cp:lastModifiedBy>Köhler Harald</cp:lastModifiedBy>
  <cp:revision>141</cp:revision>
  <dcterms:created xsi:type="dcterms:W3CDTF">2021-01-14T13:45:44Z</dcterms:created>
  <dcterms:modified xsi:type="dcterms:W3CDTF">2023-01-19T21:28:0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CC8B65A6DD38C418E9E4D83A216A36D</vt:lpwstr>
  </property>
</Properties>
</file>